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88" r:id="rId5"/>
  </p:sldMasterIdLst>
  <p:notesMasterIdLst>
    <p:notesMasterId r:id="rId15"/>
  </p:notesMasterIdLst>
  <p:handoutMasterIdLst>
    <p:handoutMasterId r:id="rId16"/>
  </p:handoutMasterIdLst>
  <p:sldIdLst>
    <p:sldId id="276" r:id="rId6"/>
    <p:sldId id="357" r:id="rId7"/>
    <p:sldId id="358" r:id="rId8"/>
    <p:sldId id="360" r:id="rId9"/>
    <p:sldId id="359" r:id="rId10"/>
    <p:sldId id="362" r:id="rId11"/>
    <p:sldId id="364" r:id="rId12"/>
    <p:sldId id="363" r:id="rId13"/>
    <p:sldId id="365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ver" id="{7CDB0000-30E0-43CC-8899-21CE1323FAB1}">
          <p14:sldIdLst>
            <p14:sldId id="276"/>
            <p14:sldId id="357"/>
            <p14:sldId id="358"/>
            <p14:sldId id="360"/>
            <p14:sldId id="359"/>
            <p14:sldId id="362"/>
            <p14:sldId id="364"/>
            <p14:sldId id="363"/>
            <p14:sldId id="365"/>
          </p14:sldIdLst>
        </p14:section>
        <p14:section name="Appendix" id="{0EEE6F9D-C998-43DF-AC2D-3743EE2D277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7CFE3"/>
    <a:srgbClr val="7030A0"/>
    <a:srgbClr val="000000"/>
    <a:srgbClr val="003E52"/>
    <a:srgbClr val="0075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2C50803-A922-41FA-9BB1-C00B6E6DB186}" v="3" dt="2022-06-01T14:22:13.587"/>
    <p1510:client id="{298BC8F2-CCF3-6B48-26ED-551C939DA491}" v="4" dt="2022-04-28T08:12:42.910"/>
    <p1510:client id="{373C2879-D822-46F1-B8D0-B62443F607D5}" v="50" dt="2022-09-26T13:00:22.060"/>
    <p1510:client id="{3F8F686D-059C-6D03-F2C5-8D93462F4C5D}" v="246" dt="2022-04-29T13:05:34.094"/>
    <p1510:client id="{89242424-A63B-AA05-BCA1-F0C44EC50573}" v="60" dt="2022-05-31T09:17:43.663"/>
    <p1510:client id="{A0FD1836-75B0-42E5-8562-232A73998328}" v="37" dt="2022-06-06T20:58:11.044"/>
    <p1510:client id="{AEA19470-02CF-4E6E-A0CA-7B384092D7AC}" v="137" dt="2022-05-03T08:08:18.657"/>
    <p1510:client id="{C1997F05-8677-4DC2-AC00-742C67F915B3}" v="2" dt="2022-09-01T15:21:06.862"/>
    <p1510:client id="{CDCDA4FA-E5EE-452D-8029-EC2B865D24B0}" v="83" dt="2022-04-29T07:22:02.300"/>
    <p1510:client id="{E6DE9057-8649-2553-7F26-557E630D271B}" v="1" dt="2022-04-28T08:23:37.1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468" y="78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34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35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ld, Michael" userId="S::michael.bold@uuplc.co.uk::e1ef4f4d-be06-4765-b5fc-988afa620936" providerId="AD" clId="Web-{C1997F05-8677-4DC2-AC00-742C67F915B3}"/>
    <pc:docChg chg="modSld">
      <pc:chgData name="Bold, Michael" userId="S::michael.bold@uuplc.co.uk::e1ef4f4d-be06-4765-b5fc-988afa620936" providerId="AD" clId="Web-{C1997F05-8677-4DC2-AC00-742C67F915B3}" dt="2022-09-01T15:21:06.862" v="1" actId="14100"/>
      <pc:docMkLst>
        <pc:docMk/>
      </pc:docMkLst>
      <pc:sldChg chg="modSp">
        <pc:chgData name="Bold, Michael" userId="S::michael.bold@uuplc.co.uk::e1ef4f4d-be06-4765-b5fc-988afa620936" providerId="AD" clId="Web-{C1997F05-8677-4DC2-AC00-742C67F915B3}" dt="2022-09-01T15:21:06.862" v="1" actId="14100"/>
        <pc:sldMkLst>
          <pc:docMk/>
          <pc:sldMk cId="37428992" sldId="328"/>
        </pc:sldMkLst>
        <pc:spChg chg="mod">
          <ac:chgData name="Bold, Michael" userId="S::michael.bold@uuplc.co.uk::e1ef4f4d-be06-4765-b5fc-988afa620936" providerId="AD" clId="Web-{C1997F05-8677-4DC2-AC00-742C67F915B3}" dt="2022-09-01T15:21:06.862" v="1" actId="14100"/>
          <ac:spMkLst>
            <pc:docMk/>
            <pc:sldMk cId="37428992" sldId="328"/>
            <ac:spMk id="23" creationId="{00000000-0000-0000-0000-000000000000}"/>
          </ac:spMkLst>
        </pc:spChg>
      </pc:sldChg>
    </pc:docChg>
  </pc:docChgLst>
  <pc:docChgLst>
    <pc:chgData name="Bold, Michael" userId="S::michael.bold@uuplc.co.uk::e1ef4f4d-be06-4765-b5fc-988afa620936" providerId="AD" clId="Web-{A0FD1836-75B0-42E5-8562-232A73998328}"/>
    <pc:docChg chg="modSld">
      <pc:chgData name="Bold, Michael" userId="S::michael.bold@uuplc.co.uk::e1ef4f4d-be06-4765-b5fc-988afa620936" providerId="AD" clId="Web-{A0FD1836-75B0-42E5-8562-232A73998328}" dt="2022-06-06T20:58:11.044" v="25"/>
      <pc:docMkLst>
        <pc:docMk/>
      </pc:docMkLst>
      <pc:sldChg chg="modSp">
        <pc:chgData name="Bold, Michael" userId="S::michael.bold@uuplc.co.uk::e1ef4f4d-be06-4765-b5fc-988afa620936" providerId="AD" clId="Web-{A0FD1836-75B0-42E5-8562-232A73998328}" dt="2022-06-06T20:56:42.073" v="17"/>
        <pc:sldMkLst>
          <pc:docMk/>
          <pc:sldMk cId="2310831205" sldId="311"/>
        </pc:sldMkLst>
        <pc:graphicFrameChg chg="mod modGraphic">
          <ac:chgData name="Bold, Michael" userId="S::michael.bold@uuplc.co.uk::e1ef4f4d-be06-4765-b5fc-988afa620936" providerId="AD" clId="Web-{A0FD1836-75B0-42E5-8562-232A73998328}" dt="2022-06-06T20:54:34.382" v="7"/>
          <ac:graphicFrameMkLst>
            <pc:docMk/>
            <pc:sldMk cId="2310831205" sldId="311"/>
            <ac:graphicFrameMk id="74" creationId="{00000000-0000-0000-0000-000000000000}"/>
          </ac:graphicFrameMkLst>
        </pc:graphicFrameChg>
        <pc:graphicFrameChg chg="mod modGraphic">
          <ac:chgData name="Bold, Michael" userId="S::michael.bold@uuplc.co.uk::e1ef4f4d-be06-4765-b5fc-988afa620936" providerId="AD" clId="Web-{A0FD1836-75B0-42E5-8562-232A73998328}" dt="2022-06-06T20:56:42.073" v="17"/>
          <ac:graphicFrameMkLst>
            <pc:docMk/>
            <pc:sldMk cId="2310831205" sldId="311"/>
            <ac:graphicFrameMk id="76" creationId="{00000000-0000-0000-0000-000000000000}"/>
          </ac:graphicFrameMkLst>
        </pc:graphicFrameChg>
        <pc:graphicFrameChg chg="mod modGraphic">
          <ac:chgData name="Bold, Michael" userId="S::michael.bold@uuplc.co.uk::e1ef4f4d-be06-4765-b5fc-988afa620936" providerId="AD" clId="Web-{A0FD1836-75B0-42E5-8562-232A73998328}" dt="2022-06-06T20:56:11.838" v="15"/>
          <ac:graphicFrameMkLst>
            <pc:docMk/>
            <pc:sldMk cId="2310831205" sldId="311"/>
            <ac:graphicFrameMk id="77" creationId="{00000000-0000-0000-0000-000000000000}"/>
          </ac:graphicFrameMkLst>
        </pc:graphicFrameChg>
      </pc:sldChg>
      <pc:sldChg chg="modSp">
        <pc:chgData name="Bold, Michael" userId="S::michael.bold@uuplc.co.uk::e1ef4f4d-be06-4765-b5fc-988afa620936" providerId="AD" clId="Web-{A0FD1836-75B0-42E5-8562-232A73998328}" dt="2022-06-06T20:57:20.168" v="19"/>
        <pc:sldMkLst>
          <pc:docMk/>
          <pc:sldMk cId="2880708797" sldId="315"/>
        </pc:sldMkLst>
        <pc:graphicFrameChg chg="mod modGraphic">
          <ac:chgData name="Bold, Michael" userId="S::michael.bold@uuplc.co.uk::e1ef4f4d-be06-4765-b5fc-988afa620936" providerId="AD" clId="Web-{A0FD1836-75B0-42E5-8562-232A73998328}" dt="2022-06-06T20:57:20.168" v="19"/>
          <ac:graphicFrameMkLst>
            <pc:docMk/>
            <pc:sldMk cId="2880708797" sldId="315"/>
            <ac:graphicFrameMk id="4" creationId="{00000000-0000-0000-0000-000000000000}"/>
          </ac:graphicFrameMkLst>
        </pc:graphicFrameChg>
      </pc:sldChg>
      <pc:sldChg chg="modSp">
        <pc:chgData name="Bold, Michael" userId="S::michael.bold@uuplc.co.uk::e1ef4f4d-be06-4765-b5fc-988afa620936" providerId="AD" clId="Web-{A0FD1836-75B0-42E5-8562-232A73998328}" dt="2022-06-06T20:58:11.044" v="25"/>
        <pc:sldMkLst>
          <pc:docMk/>
          <pc:sldMk cId="37428992" sldId="328"/>
        </pc:sldMkLst>
        <pc:spChg chg="mod">
          <ac:chgData name="Bold, Michael" userId="S::michael.bold@uuplc.co.uk::e1ef4f4d-be06-4765-b5fc-988afa620936" providerId="AD" clId="Web-{A0FD1836-75B0-42E5-8562-232A73998328}" dt="2022-06-06T20:58:11.044" v="25"/>
          <ac:spMkLst>
            <pc:docMk/>
            <pc:sldMk cId="37428992" sldId="328"/>
            <ac:spMk id="47" creationId="{96C2D17E-0D33-4FDE-9311-C227DAA8D2FE}"/>
          </ac:spMkLst>
        </pc:spChg>
      </pc:sldChg>
    </pc:docChg>
  </pc:docChgLst>
  <pc:docChgLst>
    <pc:chgData name="Cromwell, Rachel" userId="S::rachel.cromwell2@uuplc.co.uk::7a259c88-f1dd-4d48-9d2c-0ad8a8df03a2" providerId="AD" clId="Web-{298BC8F2-CCF3-6B48-26ED-551C939DA491}"/>
    <pc:docChg chg="addSld modSld modSection">
      <pc:chgData name="Cromwell, Rachel" userId="S::rachel.cromwell2@uuplc.co.uk::7a259c88-f1dd-4d48-9d2c-0ad8a8df03a2" providerId="AD" clId="Web-{298BC8F2-CCF3-6B48-26ED-551C939DA491}" dt="2022-04-28T08:12:42.910" v="3"/>
      <pc:docMkLst>
        <pc:docMk/>
      </pc:docMkLst>
      <pc:sldChg chg="add replId">
        <pc:chgData name="Cromwell, Rachel" userId="S::rachel.cromwell2@uuplc.co.uk::7a259c88-f1dd-4d48-9d2c-0ad8a8df03a2" providerId="AD" clId="Web-{298BC8F2-CCF3-6B48-26ED-551C939DA491}" dt="2022-04-28T08:12:28.894" v="0"/>
        <pc:sldMkLst>
          <pc:docMk/>
          <pc:sldMk cId="2028092564" sldId="291"/>
        </pc:sldMkLst>
      </pc:sldChg>
      <pc:sldChg chg="modSp add replId">
        <pc:chgData name="Cromwell, Rachel" userId="S::rachel.cromwell2@uuplc.co.uk::7a259c88-f1dd-4d48-9d2c-0ad8a8df03a2" providerId="AD" clId="Web-{298BC8F2-CCF3-6B48-26ED-551C939DA491}" dt="2022-04-28T08:12:42.910" v="3"/>
        <pc:sldMkLst>
          <pc:docMk/>
          <pc:sldMk cId="1688834034" sldId="292"/>
        </pc:sldMkLst>
        <pc:spChg chg="mod">
          <ac:chgData name="Cromwell, Rachel" userId="S::rachel.cromwell2@uuplc.co.uk::7a259c88-f1dd-4d48-9d2c-0ad8a8df03a2" providerId="AD" clId="Web-{298BC8F2-CCF3-6B48-26ED-551C939DA491}" dt="2022-04-28T08:12:42.910" v="3"/>
          <ac:spMkLst>
            <pc:docMk/>
            <pc:sldMk cId="1688834034" sldId="292"/>
            <ac:spMk id="6" creationId="{00000000-0000-0000-0000-000000000000}"/>
          </ac:spMkLst>
        </pc:spChg>
      </pc:sldChg>
    </pc:docChg>
  </pc:docChgLst>
  <pc:docChgLst>
    <pc:chgData name="Elston, Rebecca" userId="S::rebecca.elston@uuplc.co.uk::be967222-f723-4b59-a617-94bdc6bc738d" providerId="AD" clId="Web-{AEA19470-02CF-4E6E-A0CA-7B384092D7AC}"/>
    <pc:docChg chg="modSld">
      <pc:chgData name="Elston, Rebecca" userId="S::rebecca.elston@uuplc.co.uk::be967222-f723-4b59-a617-94bdc6bc738d" providerId="AD" clId="Web-{AEA19470-02CF-4E6E-A0CA-7B384092D7AC}" dt="2022-05-03T08:08:11.953" v="123"/>
      <pc:docMkLst>
        <pc:docMk/>
      </pc:docMkLst>
      <pc:sldChg chg="modSp">
        <pc:chgData name="Elston, Rebecca" userId="S::rebecca.elston@uuplc.co.uk::be967222-f723-4b59-a617-94bdc6bc738d" providerId="AD" clId="Web-{AEA19470-02CF-4E6E-A0CA-7B384092D7AC}" dt="2022-05-03T08:08:11.953" v="123"/>
        <pc:sldMkLst>
          <pc:docMk/>
          <pc:sldMk cId="2310831205" sldId="311"/>
        </pc:sldMkLst>
        <pc:graphicFrameChg chg="mod modGraphic">
          <ac:chgData name="Elston, Rebecca" userId="S::rebecca.elston@uuplc.co.uk::be967222-f723-4b59-a617-94bdc6bc738d" providerId="AD" clId="Web-{AEA19470-02CF-4E6E-A0CA-7B384092D7AC}" dt="2022-05-03T08:08:11.953" v="123"/>
          <ac:graphicFrameMkLst>
            <pc:docMk/>
            <pc:sldMk cId="2310831205" sldId="311"/>
            <ac:graphicFrameMk id="76" creationId="{00000000-0000-0000-0000-000000000000}"/>
          </ac:graphicFrameMkLst>
        </pc:graphicFrameChg>
      </pc:sldChg>
    </pc:docChg>
  </pc:docChgLst>
  <pc:docChgLst>
    <pc:chgData name="Elston, Rebecca" userId="S::rebecca.elston@uuplc.co.uk::be967222-f723-4b59-a617-94bdc6bc738d" providerId="AD" clId="Web-{373C2879-D822-46F1-B8D0-B62443F607D5}"/>
    <pc:docChg chg="modSld">
      <pc:chgData name="Elston, Rebecca" userId="S::rebecca.elston@uuplc.co.uk::be967222-f723-4b59-a617-94bdc6bc738d" providerId="AD" clId="Web-{373C2879-D822-46F1-B8D0-B62443F607D5}" dt="2022-09-26T13:00:22.060" v="47" actId="20577"/>
      <pc:docMkLst>
        <pc:docMk/>
      </pc:docMkLst>
      <pc:sldChg chg="modSp">
        <pc:chgData name="Elston, Rebecca" userId="S::rebecca.elston@uuplc.co.uk::be967222-f723-4b59-a617-94bdc6bc738d" providerId="AD" clId="Web-{373C2879-D822-46F1-B8D0-B62443F607D5}" dt="2022-09-26T13:00:22.060" v="47" actId="20577"/>
        <pc:sldMkLst>
          <pc:docMk/>
          <pc:sldMk cId="1847169403" sldId="283"/>
        </pc:sldMkLst>
        <pc:spChg chg="mod">
          <ac:chgData name="Elston, Rebecca" userId="S::rebecca.elston@uuplc.co.uk::be967222-f723-4b59-a617-94bdc6bc738d" providerId="AD" clId="Web-{373C2879-D822-46F1-B8D0-B62443F607D5}" dt="2022-09-26T13:00:22.060" v="47" actId="20577"/>
          <ac:spMkLst>
            <pc:docMk/>
            <pc:sldMk cId="1847169403" sldId="283"/>
            <ac:spMk id="7" creationId="{00000000-0000-0000-0000-000000000000}"/>
          </ac:spMkLst>
        </pc:spChg>
      </pc:sldChg>
      <pc:sldChg chg="modSp">
        <pc:chgData name="Elston, Rebecca" userId="S::rebecca.elston@uuplc.co.uk::be967222-f723-4b59-a617-94bdc6bc738d" providerId="AD" clId="Web-{373C2879-D822-46F1-B8D0-B62443F607D5}" dt="2022-09-26T11:40:16.310" v="6" actId="20577"/>
        <pc:sldMkLst>
          <pc:docMk/>
          <pc:sldMk cId="37428992" sldId="328"/>
        </pc:sldMkLst>
        <pc:spChg chg="mod">
          <ac:chgData name="Elston, Rebecca" userId="S::rebecca.elston@uuplc.co.uk::be967222-f723-4b59-a617-94bdc6bc738d" providerId="AD" clId="Web-{373C2879-D822-46F1-B8D0-B62443F607D5}" dt="2022-09-26T11:40:16.310" v="6" actId="20577"/>
          <ac:spMkLst>
            <pc:docMk/>
            <pc:sldMk cId="37428992" sldId="328"/>
            <ac:spMk id="125" creationId="{8501E93E-3EF0-436F-BE30-736C06A62A32}"/>
          </ac:spMkLst>
        </pc:spChg>
      </pc:sldChg>
      <pc:sldChg chg="addSp modSp">
        <pc:chgData name="Elston, Rebecca" userId="S::rebecca.elston@uuplc.co.uk::be967222-f723-4b59-a617-94bdc6bc738d" providerId="AD" clId="Web-{373C2879-D822-46F1-B8D0-B62443F607D5}" dt="2022-09-26T11:43:37.539" v="10" actId="1076"/>
        <pc:sldMkLst>
          <pc:docMk/>
          <pc:sldMk cId="1490317524" sldId="336"/>
        </pc:sldMkLst>
        <pc:picChg chg="add mod">
          <ac:chgData name="Elston, Rebecca" userId="S::rebecca.elston@uuplc.co.uk::be967222-f723-4b59-a617-94bdc6bc738d" providerId="AD" clId="Web-{373C2879-D822-46F1-B8D0-B62443F607D5}" dt="2022-09-26T11:43:37.539" v="10" actId="1076"/>
          <ac:picMkLst>
            <pc:docMk/>
            <pc:sldMk cId="1490317524" sldId="336"/>
            <ac:picMk id="2" creationId="{3817BED8-C9B6-7F69-6DCB-C59C3BE36C3A}"/>
          </ac:picMkLst>
        </pc:picChg>
      </pc:sldChg>
    </pc:docChg>
  </pc:docChgLst>
  <pc:docChgLst>
    <pc:chgData name="Elston, Rebecca" userId="S::rebecca.elston@uuplc.co.uk::be967222-f723-4b59-a617-94bdc6bc738d" providerId="AD" clId="Web-{CDCDA4FA-E5EE-452D-8029-EC2B865D24B0}"/>
    <pc:docChg chg="modSld">
      <pc:chgData name="Elston, Rebecca" userId="S::rebecca.elston@uuplc.co.uk::be967222-f723-4b59-a617-94bdc6bc738d" providerId="AD" clId="Web-{CDCDA4FA-E5EE-452D-8029-EC2B865D24B0}" dt="2022-04-29T07:21:59.675" v="79" actId="20577"/>
      <pc:docMkLst>
        <pc:docMk/>
      </pc:docMkLst>
      <pc:sldChg chg="addSp modSp">
        <pc:chgData name="Elston, Rebecca" userId="S::rebecca.elston@uuplc.co.uk::be967222-f723-4b59-a617-94bdc6bc738d" providerId="AD" clId="Web-{CDCDA4FA-E5EE-452D-8029-EC2B865D24B0}" dt="2022-04-29T07:21:59.675" v="79" actId="20577"/>
        <pc:sldMkLst>
          <pc:docMk/>
          <pc:sldMk cId="3285284198" sldId="303"/>
        </pc:sldMkLst>
        <pc:spChg chg="add mod">
          <ac:chgData name="Elston, Rebecca" userId="S::rebecca.elston@uuplc.co.uk::be967222-f723-4b59-a617-94bdc6bc738d" providerId="AD" clId="Web-{CDCDA4FA-E5EE-452D-8029-EC2B865D24B0}" dt="2022-04-29T07:21:59.675" v="79" actId="20577"/>
          <ac:spMkLst>
            <pc:docMk/>
            <pc:sldMk cId="3285284198" sldId="303"/>
            <ac:spMk id="30" creationId="{84637363-998A-0B2F-C769-A556BDED380D}"/>
          </ac:spMkLst>
        </pc:spChg>
        <pc:spChg chg="add mod">
          <ac:chgData name="Elston, Rebecca" userId="S::rebecca.elston@uuplc.co.uk::be967222-f723-4b59-a617-94bdc6bc738d" providerId="AD" clId="Web-{CDCDA4FA-E5EE-452D-8029-EC2B865D24B0}" dt="2022-04-29T07:21:30.330" v="56" actId="20577"/>
          <ac:spMkLst>
            <pc:docMk/>
            <pc:sldMk cId="3285284198" sldId="303"/>
            <ac:spMk id="34" creationId="{39CF5788-9A21-113A-11B2-80FA2ECAE8FA}"/>
          </ac:spMkLst>
        </pc:spChg>
      </pc:sldChg>
    </pc:docChg>
  </pc:docChgLst>
  <pc:docChgLst>
    <pc:chgData name="Elston, Rebecca" userId="S::rebecca.elston@uuplc.co.uk::be967222-f723-4b59-a617-94bdc6bc738d" providerId="AD" clId="Web-{02C50803-A922-41FA-9BB1-C00B6E6DB186}"/>
    <pc:docChg chg="modSld">
      <pc:chgData name="Elston, Rebecca" userId="S::rebecca.elston@uuplc.co.uk::be967222-f723-4b59-a617-94bdc6bc738d" providerId="AD" clId="Web-{02C50803-A922-41FA-9BB1-C00B6E6DB186}" dt="2022-06-01T14:22:13.587" v="2" actId="1076"/>
      <pc:docMkLst>
        <pc:docMk/>
      </pc:docMkLst>
      <pc:sldChg chg="modSp">
        <pc:chgData name="Elston, Rebecca" userId="S::rebecca.elston@uuplc.co.uk::be967222-f723-4b59-a617-94bdc6bc738d" providerId="AD" clId="Web-{02C50803-A922-41FA-9BB1-C00B6E6DB186}" dt="2022-06-01T14:22:13.587" v="2" actId="1076"/>
        <pc:sldMkLst>
          <pc:docMk/>
          <pc:sldMk cId="3955416333" sldId="296"/>
        </pc:sldMkLst>
        <pc:spChg chg="mod">
          <ac:chgData name="Elston, Rebecca" userId="S::rebecca.elston@uuplc.co.uk::be967222-f723-4b59-a617-94bdc6bc738d" providerId="AD" clId="Web-{02C50803-A922-41FA-9BB1-C00B6E6DB186}" dt="2022-06-01T14:22:13.587" v="2" actId="1076"/>
          <ac:spMkLst>
            <pc:docMk/>
            <pc:sldMk cId="3955416333" sldId="296"/>
            <ac:spMk id="3" creationId="{00000000-0000-0000-0000-000000000000}"/>
          </ac:spMkLst>
        </pc:spChg>
        <pc:graphicFrameChg chg="mod modGraphic">
          <ac:chgData name="Elston, Rebecca" userId="S::rebecca.elston@uuplc.co.uk::be967222-f723-4b59-a617-94bdc6bc738d" providerId="AD" clId="Web-{02C50803-A922-41FA-9BB1-C00B6E6DB186}" dt="2022-06-01T14:22:10.931" v="1"/>
          <ac:graphicFrameMkLst>
            <pc:docMk/>
            <pc:sldMk cId="3955416333" sldId="296"/>
            <ac:graphicFrameMk id="2" creationId="{00000000-0000-0000-0000-000000000000}"/>
          </ac:graphicFrameMkLst>
        </pc:graphicFrameChg>
      </pc:sldChg>
    </pc:docChg>
  </pc:docChgLst>
  <pc:docChgLst>
    <pc:chgData name="Elston, Rebecca" userId="S::rebecca.elston@uuplc.co.uk::be967222-f723-4b59-a617-94bdc6bc738d" providerId="AD" clId="Web-{E6DE9057-8649-2553-7F26-557E630D271B}"/>
    <pc:docChg chg="modSld">
      <pc:chgData name="Elston, Rebecca" userId="S::rebecca.elston@uuplc.co.uk::be967222-f723-4b59-a617-94bdc6bc738d" providerId="AD" clId="Web-{E6DE9057-8649-2553-7F26-557E630D271B}" dt="2022-04-28T08:23:37.179" v="0" actId="1076"/>
      <pc:docMkLst>
        <pc:docMk/>
      </pc:docMkLst>
      <pc:sldChg chg="modSp">
        <pc:chgData name="Elston, Rebecca" userId="S::rebecca.elston@uuplc.co.uk::be967222-f723-4b59-a617-94bdc6bc738d" providerId="AD" clId="Web-{E6DE9057-8649-2553-7F26-557E630D271B}" dt="2022-04-28T08:23:37.179" v="0" actId="1076"/>
        <pc:sldMkLst>
          <pc:docMk/>
          <pc:sldMk cId="3567605782" sldId="276"/>
        </pc:sldMkLst>
        <pc:picChg chg="mod">
          <ac:chgData name="Elston, Rebecca" userId="S::rebecca.elston@uuplc.co.uk::be967222-f723-4b59-a617-94bdc6bc738d" providerId="AD" clId="Web-{E6DE9057-8649-2553-7F26-557E630D271B}" dt="2022-04-28T08:23:37.179" v="0" actId="1076"/>
          <ac:picMkLst>
            <pc:docMk/>
            <pc:sldMk cId="3567605782" sldId="276"/>
            <ac:picMk id="9" creationId="{97C15B22-3A7C-4D91-9B1E-245C4A2AD74D}"/>
          </ac:picMkLst>
        </pc:picChg>
      </pc:sldChg>
    </pc:docChg>
  </pc:docChgLst>
  <pc:docChgLst>
    <pc:chgData name="Bold, Michael" userId="S::michael.bold@uuplc.co.uk::e1ef4f4d-be06-4765-b5fc-988afa620936" providerId="AD" clId="Web-{89242424-A63B-AA05-BCA1-F0C44EC50573}"/>
    <pc:docChg chg="modSld">
      <pc:chgData name="Bold, Michael" userId="S::michael.bold@uuplc.co.uk::e1ef4f4d-be06-4765-b5fc-988afa620936" providerId="AD" clId="Web-{89242424-A63B-AA05-BCA1-F0C44EC50573}" dt="2022-05-31T09:17:43.663" v="55"/>
      <pc:docMkLst>
        <pc:docMk/>
      </pc:docMkLst>
      <pc:sldChg chg="addSp delSp modSp">
        <pc:chgData name="Bold, Michael" userId="S::michael.bold@uuplc.co.uk::e1ef4f4d-be06-4765-b5fc-988afa620936" providerId="AD" clId="Web-{89242424-A63B-AA05-BCA1-F0C44EC50573}" dt="2022-05-31T09:17:43.663" v="55"/>
        <pc:sldMkLst>
          <pc:docMk/>
          <pc:sldMk cId="3955416333" sldId="296"/>
        </pc:sldMkLst>
        <pc:picChg chg="add del mod">
          <ac:chgData name="Bold, Michael" userId="S::michael.bold@uuplc.co.uk::e1ef4f4d-be06-4765-b5fc-988afa620936" providerId="AD" clId="Web-{89242424-A63B-AA05-BCA1-F0C44EC50573}" dt="2022-05-31T09:17:43.663" v="55"/>
          <ac:picMkLst>
            <pc:docMk/>
            <pc:sldMk cId="3955416333" sldId="296"/>
            <ac:picMk id="4" creationId="{BF19B391-C105-7A0D-049B-FDDF25F68FC2}"/>
          </ac:picMkLst>
        </pc:picChg>
      </pc:sldChg>
      <pc:sldChg chg="modSp">
        <pc:chgData name="Bold, Michael" userId="S::michael.bold@uuplc.co.uk::e1ef4f4d-be06-4765-b5fc-988afa620936" providerId="AD" clId="Web-{89242424-A63B-AA05-BCA1-F0C44EC50573}" dt="2022-05-31T09:12:07.560" v="53"/>
        <pc:sldMkLst>
          <pc:docMk/>
          <pc:sldMk cId="2880708797" sldId="315"/>
        </pc:sldMkLst>
        <pc:graphicFrameChg chg="mod modGraphic">
          <ac:chgData name="Bold, Michael" userId="S::michael.bold@uuplc.co.uk::e1ef4f4d-be06-4765-b5fc-988afa620936" providerId="AD" clId="Web-{89242424-A63B-AA05-BCA1-F0C44EC50573}" dt="2022-05-31T09:12:07.560" v="53"/>
          <ac:graphicFrameMkLst>
            <pc:docMk/>
            <pc:sldMk cId="2880708797" sldId="315"/>
            <ac:graphicFrameMk id="4" creationId="{00000000-0000-0000-0000-000000000000}"/>
          </ac:graphicFrameMkLst>
        </pc:graphicFrameChg>
      </pc:sldChg>
    </pc:docChg>
  </pc:docChgLst>
  <pc:docChgLst>
    <pc:chgData name="Bold, Michael" userId="S::michael.bold@uuplc.co.uk::e1ef4f4d-be06-4765-b5fc-988afa620936" providerId="AD" clId="Web-{3F8F686D-059C-6D03-F2C5-8D93462F4C5D}"/>
    <pc:docChg chg="modSld">
      <pc:chgData name="Bold, Michael" userId="S::michael.bold@uuplc.co.uk::e1ef4f4d-be06-4765-b5fc-988afa620936" providerId="AD" clId="Web-{3F8F686D-059C-6D03-F2C5-8D93462F4C5D}" dt="2022-04-29T13:05:34.094" v="245" actId="20577"/>
      <pc:docMkLst>
        <pc:docMk/>
      </pc:docMkLst>
      <pc:sldChg chg="modSp">
        <pc:chgData name="Bold, Michael" userId="S::michael.bold@uuplc.co.uk::e1ef4f4d-be06-4765-b5fc-988afa620936" providerId="AD" clId="Web-{3F8F686D-059C-6D03-F2C5-8D93462F4C5D}" dt="2022-04-29T13:00:41.288" v="3" actId="1076"/>
        <pc:sldMkLst>
          <pc:docMk/>
          <pc:sldMk cId="1847169403" sldId="283"/>
        </pc:sldMkLst>
        <pc:picChg chg="mod">
          <ac:chgData name="Bold, Michael" userId="S::michael.bold@uuplc.co.uk::e1ef4f4d-be06-4765-b5fc-988afa620936" providerId="AD" clId="Web-{3F8F686D-059C-6D03-F2C5-8D93462F4C5D}" dt="2022-04-29T13:00:41.288" v="3" actId="1076"/>
          <ac:picMkLst>
            <pc:docMk/>
            <pc:sldMk cId="1847169403" sldId="283"/>
            <ac:picMk id="10" creationId="{DCF5E594-3569-4F90-86F3-686CDAAC65CE}"/>
          </ac:picMkLst>
        </pc:picChg>
      </pc:sldChg>
      <pc:sldChg chg="modSp">
        <pc:chgData name="Bold, Michael" userId="S::michael.bold@uuplc.co.uk::e1ef4f4d-be06-4765-b5fc-988afa620936" providerId="AD" clId="Web-{3F8F686D-059C-6D03-F2C5-8D93462F4C5D}" dt="2022-04-29T13:02:10.088" v="13" actId="20577"/>
        <pc:sldMkLst>
          <pc:docMk/>
          <pc:sldMk cId="2573795907" sldId="297"/>
        </pc:sldMkLst>
        <pc:spChg chg="mod">
          <ac:chgData name="Bold, Michael" userId="S::michael.bold@uuplc.co.uk::e1ef4f4d-be06-4765-b5fc-988afa620936" providerId="AD" clId="Web-{3F8F686D-059C-6D03-F2C5-8D93462F4C5D}" dt="2022-04-29T13:02:10.088" v="13" actId="20577"/>
          <ac:spMkLst>
            <pc:docMk/>
            <pc:sldMk cId="2573795907" sldId="297"/>
            <ac:spMk id="50" creationId="{13BB7E18-FD75-412B-ACCC-2430863930B4}"/>
          </ac:spMkLst>
        </pc:spChg>
      </pc:sldChg>
      <pc:sldChg chg="addSp delSp modSp">
        <pc:chgData name="Bold, Michael" userId="S::michael.bold@uuplc.co.uk::e1ef4f4d-be06-4765-b5fc-988afa620936" providerId="AD" clId="Web-{3F8F686D-059C-6D03-F2C5-8D93462F4C5D}" dt="2022-04-29T13:05:34.094" v="245" actId="20577"/>
        <pc:sldMkLst>
          <pc:docMk/>
          <pc:sldMk cId="1415834699" sldId="299"/>
        </pc:sldMkLst>
        <pc:spChg chg="mod">
          <ac:chgData name="Bold, Michael" userId="S::michael.bold@uuplc.co.uk::e1ef4f4d-be06-4765-b5fc-988afa620936" providerId="AD" clId="Web-{3F8F686D-059C-6D03-F2C5-8D93462F4C5D}" dt="2022-04-29T13:02:50.308" v="45" actId="1076"/>
          <ac:spMkLst>
            <pc:docMk/>
            <pc:sldMk cId="1415834699" sldId="299"/>
            <ac:spMk id="3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245" v="40" actId="1076"/>
          <ac:spMkLst>
            <pc:docMk/>
            <pc:sldMk cId="1415834699" sldId="299"/>
            <ac:spMk id="12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261" v="41" actId="1076"/>
          <ac:spMkLst>
            <pc:docMk/>
            <pc:sldMk cId="1415834699" sldId="299"/>
            <ac:spMk id="22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276" v="42" actId="1076"/>
          <ac:spMkLst>
            <pc:docMk/>
            <pc:sldMk cId="1415834699" sldId="299"/>
            <ac:spMk id="23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292" v="43" actId="1076"/>
          <ac:spMkLst>
            <pc:docMk/>
            <pc:sldMk cId="1415834699" sldId="299"/>
            <ac:spMk id="24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292" v="44" actId="1076"/>
          <ac:spMkLst>
            <pc:docMk/>
            <pc:sldMk cId="1415834699" sldId="299"/>
            <ac:spMk id="25" creationId="{00000000-0000-0000-0000-000000000000}"/>
          </ac:spMkLst>
        </pc:spChg>
        <pc:spChg chg="del mod">
          <ac:chgData name="Bold, Michael" userId="S::michael.bold@uuplc.co.uk::e1ef4f4d-be06-4765-b5fc-988afa620936" providerId="AD" clId="Web-{3F8F686D-059C-6D03-F2C5-8D93462F4C5D}" dt="2022-04-29T13:03:51.169" v="79"/>
          <ac:spMkLst>
            <pc:docMk/>
            <pc:sldMk cId="1415834699" sldId="299"/>
            <ac:spMk id="32" creationId="{00000000-0000-0000-0000-00000000000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35" creationId="{076FABFC-982F-C18F-605C-8AB928487187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36" creationId="{1C63ED2D-47B8-BEF1-B7B2-D7C8708ABAA8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37" creationId="{8AE07115-3829-3AD5-3E3A-CEBAE094D662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370" v="51" actId="1076"/>
          <ac:spMkLst>
            <pc:docMk/>
            <pc:sldMk cId="1415834699" sldId="299"/>
            <ac:spMk id="38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386" v="52" actId="1076"/>
          <ac:spMkLst>
            <pc:docMk/>
            <pc:sldMk cId="1415834699" sldId="299"/>
            <ac:spMk id="39" creationId="{00000000-0000-0000-0000-00000000000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40" creationId="{3BFBA544-E4A0-09D1-2908-6D1BC2ADBCC9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41" creationId="{6576D018-7C27-AB3E-6364-B0E982BC1B75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401" v="53" actId="1076"/>
          <ac:spMkLst>
            <pc:docMk/>
            <pc:sldMk cId="1415834699" sldId="299"/>
            <ac:spMk id="42" creationId="{00000000-0000-0000-0000-00000000000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43" creationId="{4EBDF768-C42F-A387-45F2-8A2184B0CB14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44" creationId="{12FA1BC7-0685-16BF-54AA-24F67189E606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50" creationId="{0B2B0560-8435-76F7-E297-D9B360E7B0B2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51" creationId="{398BA840-9671-F936-7622-2A5DF13716D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52" creationId="{FCA9AA51-8752-B5A6-4696-C032599EF829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417" v="54" actId="1076"/>
          <ac:spMkLst>
            <pc:docMk/>
            <pc:sldMk cId="1415834699" sldId="299"/>
            <ac:spMk id="53" creationId="{00000000-0000-0000-0000-00000000000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54" creationId="{55D5D58F-A87D-23C8-DA7B-18584F22E356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1" creationId="{ACCB95FF-77F5-7B7E-7DD8-D0DF8B31589E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2" creationId="{CF7382EB-026B-DBA4-6D9B-778DFAFBDD29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3" creationId="{8BDCD79A-2DBE-958E-C93A-2A2C2407ABBE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4" creationId="{CFF74E80-FCEF-5161-5E81-C9D53672B068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5" creationId="{AA2A68CC-DED6-3CA2-40C6-7929BB5A258A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6" creationId="{3EA3E95B-D51D-1EB7-3DFC-C5725E7CDA12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8" creationId="{E126962A-1D2C-3EF1-646B-493CB05C4A91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19.965" v="69"/>
          <ac:spMkLst>
            <pc:docMk/>
            <pc:sldMk cId="1415834699" sldId="299"/>
            <ac:spMk id="69" creationId="{E0E19957-6EB4-F989-6A00-FD0CAC8F1723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448" v="58" actId="1076"/>
          <ac:spMkLst>
            <pc:docMk/>
            <pc:sldMk cId="1415834699" sldId="299"/>
            <ac:spMk id="70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3:27.856" v="71" actId="1076"/>
          <ac:spMkLst>
            <pc:docMk/>
            <pc:sldMk cId="1415834699" sldId="299"/>
            <ac:spMk id="71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480" v="60" actId="1076"/>
          <ac:spMkLst>
            <pc:docMk/>
            <pc:sldMk cId="1415834699" sldId="299"/>
            <ac:spMk id="72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31.682" v="14" actId="14100"/>
          <ac:spMkLst>
            <pc:docMk/>
            <pc:sldMk cId="1415834699" sldId="299"/>
            <ac:spMk id="73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495" v="61" actId="1076"/>
          <ac:spMkLst>
            <pc:docMk/>
            <pc:sldMk cId="1415834699" sldId="299"/>
            <ac:spMk id="74" creationId="{00000000-0000-0000-0000-000000000000}"/>
          </ac:spMkLst>
        </pc:spChg>
        <pc:spChg chg="mod">
          <ac:chgData name="Bold, Michael" userId="S::michael.bold@uuplc.co.uk::e1ef4f4d-be06-4765-b5fc-988afa620936" providerId="AD" clId="Web-{3F8F686D-059C-6D03-F2C5-8D93462F4C5D}" dt="2022-04-29T13:02:50.511" v="62" actId="1076"/>
          <ac:spMkLst>
            <pc:docMk/>
            <pc:sldMk cId="1415834699" sldId="299"/>
            <ac:spMk id="75" creationId="{00000000-0000-0000-0000-00000000000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76" creationId="{076FABFC-982F-C18F-605C-8AB928487187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77" creationId="{1C63ED2D-47B8-BEF1-B7B2-D7C8708ABAA8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78" creationId="{8AE07115-3829-3AD5-3E3A-CEBAE094D662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79" creationId="{3BFBA544-E4A0-09D1-2908-6D1BC2ADBCC9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80" creationId="{6576D018-7C27-AB3E-6364-B0E982BC1B75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81" creationId="{4EBDF768-C42F-A387-45F2-8A2184B0CB14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82" creationId="{12FA1BC7-0685-16BF-54AA-24F67189E606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88" creationId="{0B2B0560-8435-76F7-E297-D9B360E7B0B2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89" creationId="{398BA840-9671-F936-7622-2A5DF13716D0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0" creationId="{FCA9AA51-8752-B5A6-4696-C032599EF829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1" creationId="{55D5D58F-A87D-23C8-DA7B-18584F22E356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5" creationId="{ACCB95FF-77F5-7B7E-7DD8-D0DF8B31589E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6" creationId="{CF7382EB-026B-DBA4-6D9B-778DFAFBDD29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7" creationId="{8BDCD79A-2DBE-958E-C93A-2A2C2407ABBE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8" creationId="{CFF74E80-FCEF-5161-5E81-C9D53672B068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99" creationId="{AA2A68CC-DED6-3CA2-40C6-7929BB5A258A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100" creationId="{3EA3E95B-D51D-1EB7-3DFC-C5725E7CDA12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102" creationId="{E126962A-1D2C-3EF1-646B-493CB05C4A91}"/>
          </ac:spMkLst>
        </pc:spChg>
        <pc:spChg chg="add del">
          <ac:chgData name="Bold, Michael" userId="S::michael.bold@uuplc.co.uk::e1ef4f4d-be06-4765-b5fc-988afa620936" providerId="AD" clId="Web-{3F8F686D-059C-6D03-F2C5-8D93462F4C5D}" dt="2022-04-29T13:03:35.028" v="73"/>
          <ac:spMkLst>
            <pc:docMk/>
            <pc:sldMk cId="1415834699" sldId="299"/>
            <ac:spMk id="103" creationId="{E0E19957-6EB4-F989-6A00-FD0CAC8F1723}"/>
          </ac:spMkLst>
        </pc:spChg>
        <pc:spChg chg="add mod">
          <ac:chgData name="Bold, Michael" userId="S::michael.bold@uuplc.co.uk::e1ef4f4d-be06-4765-b5fc-988afa620936" providerId="AD" clId="Web-{3F8F686D-059C-6D03-F2C5-8D93462F4C5D}" dt="2022-04-29T13:05:34.094" v="245" actId="20577"/>
          <ac:spMkLst>
            <pc:docMk/>
            <pc:sldMk cId="1415834699" sldId="299"/>
            <ac:spMk id="104" creationId="{15B10C87-813C-977F-3371-F6C62DE3F026}"/>
          </ac:spMkLst>
        </pc:spChg>
        <pc:cxnChg chg="mod">
          <ac:chgData name="Bold, Michael" userId="S::michael.bold@uuplc.co.uk::e1ef4f4d-be06-4765-b5fc-988afa620936" providerId="AD" clId="Web-{3F8F686D-059C-6D03-F2C5-8D93462F4C5D}" dt="2022-04-29T13:02:50.323" v="46" actId="1076"/>
          <ac:cxnSpMkLst>
            <pc:docMk/>
            <pc:sldMk cId="1415834699" sldId="299"/>
            <ac:cxnSpMk id="5" creationId="{00000000-0000-0000-0000-000000000000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323" v="47" actId="1076"/>
          <ac:cxnSpMkLst>
            <pc:docMk/>
            <pc:sldMk cId="1415834699" sldId="299"/>
            <ac:cxnSpMk id="28" creationId="{00000000-0000-0000-0000-000000000000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339" v="48" actId="1076"/>
          <ac:cxnSpMkLst>
            <pc:docMk/>
            <pc:sldMk cId="1415834699" sldId="299"/>
            <ac:cxnSpMk id="29" creationId="{00000000-0000-0000-0000-000000000000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511" v="63" actId="1076"/>
          <ac:cxnSpMkLst>
            <pc:docMk/>
            <pc:sldMk cId="1415834699" sldId="299"/>
            <ac:cxnSpMk id="30" creationId="{846EB486-4A68-B86D-4116-412F521ABEB6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355" v="49" actId="1076"/>
          <ac:cxnSpMkLst>
            <pc:docMk/>
            <pc:sldMk cId="1415834699" sldId="299"/>
            <ac:cxnSpMk id="33" creationId="{00000000-0000-0000-0000-000000000000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370" v="50" actId="1076"/>
          <ac:cxnSpMkLst>
            <pc:docMk/>
            <pc:sldMk cId="1415834699" sldId="299"/>
            <ac:cxnSpMk id="34" creationId="{00000000-0000-0000-0000-000000000000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45" creationId="{50781FE3-678C-29BB-133B-06DEE14FF418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46" creationId="{4FBD9F15-BDD7-A411-0148-2DEBA4A88021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47" creationId="{B67BC840-D660-AA86-737E-5F331F4AAB65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48" creationId="{3D125F64-3A72-9CC6-4B3F-F1ACD34059D9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49" creationId="{42802C68-2660-00A4-2A6C-B4E49688FAF6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55" creationId="{6C985B52-38FE-4A05-AAC6-24BB44560EBB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417" v="55" actId="1076"/>
          <ac:cxnSpMkLst>
            <pc:docMk/>
            <pc:sldMk cId="1415834699" sldId="299"/>
            <ac:cxnSpMk id="56" creationId="{00000000-0000-0000-0000-000000000000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433" v="56" actId="1076"/>
          <ac:cxnSpMkLst>
            <pc:docMk/>
            <pc:sldMk cId="1415834699" sldId="299"/>
            <ac:cxnSpMk id="57" creationId="{00000000-0000-0000-0000-000000000000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58" creationId="{172317BF-6A86-E893-78BF-9B5562051759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59" creationId="{1AFF9AA9-E172-5453-ABE3-CF92B4EE133A}"/>
          </ac:cxnSpMkLst>
        </pc:cxnChg>
        <pc:cxnChg chg="mod">
          <ac:chgData name="Bold, Michael" userId="S::michael.bold@uuplc.co.uk::e1ef4f4d-be06-4765-b5fc-988afa620936" providerId="AD" clId="Web-{3F8F686D-059C-6D03-F2C5-8D93462F4C5D}" dt="2022-04-29T13:02:50.448" v="57" actId="1076"/>
          <ac:cxnSpMkLst>
            <pc:docMk/>
            <pc:sldMk cId="1415834699" sldId="299"/>
            <ac:cxnSpMk id="60" creationId="{00000000-0000-0000-0000-000000000000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19.965" v="69"/>
          <ac:cxnSpMkLst>
            <pc:docMk/>
            <pc:sldMk cId="1415834699" sldId="299"/>
            <ac:cxnSpMk id="67" creationId="{0405D8D2-A40D-F9E7-B394-41CC2A2F099D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83" creationId="{50781FE3-678C-29BB-133B-06DEE14FF418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84" creationId="{4FBD9F15-BDD7-A411-0148-2DEBA4A88021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85" creationId="{B67BC840-D660-AA86-737E-5F331F4AAB65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86" creationId="{3D125F64-3A72-9CC6-4B3F-F1ACD34059D9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87" creationId="{42802C68-2660-00A4-2A6C-B4E49688FAF6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92" creationId="{6C985B52-38FE-4A05-AAC6-24BB44560EBB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93" creationId="{172317BF-6A86-E893-78BF-9B5562051759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94" creationId="{1AFF9AA9-E172-5453-ABE3-CF92B4EE133A}"/>
          </ac:cxnSpMkLst>
        </pc:cxnChg>
        <pc:cxnChg chg="add del">
          <ac:chgData name="Bold, Michael" userId="S::michael.bold@uuplc.co.uk::e1ef4f4d-be06-4765-b5fc-988afa620936" providerId="AD" clId="Web-{3F8F686D-059C-6D03-F2C5-8D93462F4C5D}" dt="2022-04-29T13:03:35.028" v="73"/>
          <ac:cxnSpMkLst>
            <pc:docMk/>
            <pc:sldMk cId="1415834699" sldId="299"/>
            <ac:cxnSpMk id="101" creationId="{0405D8D2-A40D-F9E7-B394-41CC2A2F099D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4890510948905105E-2"/>
          <c:y val="0.11063829787234043"/>
          <c:w val="0.81021897810218979"/>
          <c:h val="0.7787234042553191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bg2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4196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D5F-48B1-B238-9F0A7B3925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59924368"/>
        <c:axId val="359919664"/>
      </c:barChart>
      <c:catAx>
        <c:axId val="359924368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Calibri"/>
                <a:ea typeface="Calibri"/>
                <a:cs typeface="Calibri"/>
                <a:sym typeface="Calibri"/>
              </a:defRPr>
            </a:pPr>
            <a:endParaRPr lang="en-US"/>
          </a:p>
        </c:txPr>
        <c:crossAx val="359919664"/>
        <c:crosses val="min"/>
        <c:auto val="0"/>
        <c:lblAlgn val="ctr"/>
        <c:lblOffset val="100"/>
        <c:noMultiLvlLbl val="0"/>
      </c:catAx>
      <c:valAx>
        <c:axId val="359919664"/>
        <c:scaling>
          <c:orientation val="minMax"/>
          <c:max val="1419640"/>
          <c:min val="0"/>
        </c:scaling>
        <c:delete val="1"/>
        <c:axPos val="b"/>
        <c:numFmt formatCode="General" sourceLinked="1"/>
        <c:majorTickMark val="out"/>
        <c:minorTickMark val="none"/>
        <c:tickLblPos val="nextTo"/>
        <c:crossAx val="359924368"/>
        <c:crosses val="max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2911392405063289"/>
          <c:y val="0.11063829787234043"/>
          <c:w val="0.34177215189873417"/>
          <c:h val="0.77872340425531916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B4B4B4"/>
            </a:solidFill>
            <a:ln w="9525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834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3FB-41FF-A48B-B5A2BDA8EF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79657544"/>
        <c:axId val="279659896"/>
      </c:barChart>
      <c:catAx>
        <c:axId val="2796575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Calibri"/>
                <a:ea typeface="Calibri"/>
                <a:cs typeface="Calibri"/>
                <a:sym typeface="Calibri"/>
              </a:defRPr>
            </a:pPr>
            <a:endParaRPr lang="en-US"/>
          </a:p>
        </c:txPr>
        <c:crossAx val="279659896"/>
        <c:crosses val="min"/>
        <c:auto val="0"/>
        <c:lblAlgn val="ctr"/>
        <c:lblOffset val="100"/>
        <c:noMultiLvlLbl val="0"/>
      </c:catAx>
      <c:valAx>
        <c:axId val="279659896"/>
        <c:scaling>
          <c:orientation val="minMax"/>
          <c:max val="183473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2796575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/>
              <a:t>United Utilties - Metering Work volum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w Installatio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22/23</c:v>
                </c:pt>
                <c:pt idx="1">
                  <c:v>23/24</c:v>
                </c:pt>
                <c:pt idx="2">
                  <c:v>24/25</c:v>
                </c:pt>
                <c:pt idx="3">
                  <c:v>25/26</c:v>
                </c:pt>
                <c:pt idx="4">
                  <c:v>26/27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9449</c:v>
                </c:pt>
                <c:pt idx="1">
                  <c:v>45009</c:v>
                </c:pt>
                <c:pt idx="2">
                  <c:v>49555</c:v>
                </c:pt>
                <c:pt idx="3">
                  <c:v>100228</c:v>
                </c:pt>
                <c:pt idx="4">
                  <c:v>10022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enewa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3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Pt>
            <c:idx val="4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cat>
            <c:strRef>
              <c:f>Sheet1!$A$2:$A$6</c:f>
              <c:strCache>
                <c:ptCount val="5"/>
                <c:pt idx="0">
                  <c:v>22/23</c:v>
                </c:pt>
                <c:pt idx="1">
                  <c:v>23/24</c:v>
                </c:pt>
                <c:pt idx="2">
                  <c:v>24/25</c:v>
                </c:pt>
                <c:pt idx="3">
                  <c:v>25/26</c:v>
                </c:pt>
                <c:pt idx="4">
                  <c:v>26/27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2298</c:v>
                </c:pt>
                <c:pt idx="1">
                  <c:v>12585</c:v>
                </c:pt>
                <c:pt idx="2">
                  <c:v>12965</c:v>
                </c:pt>
                <c:pt idx="3">
                  <c:v>83596</c:v>
                </c:pt>
                <c:pt idx="4">
                  <c:v>835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2009784"/>
        <c:axId val="492012920"/>
      </c:barChart>
      <c:catAx>
        <c:axId val="492009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2012920"/>
        <c:crosses val="autoZero"/>
        <c:auto val="1"/>
        <c:lblAlgn val="ctr"/>
        <c:lblOffset val="100"/>
        <c:noMultiLvlLbl val="0"/>
      </c:catAx>
      <c:valAx>
        <c:axId val="492012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20097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6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4C69C43-82A8-40C5-B7FE-B0DDC841820E}" type="datetimeFigureOut">
              <a:rPr lang="en-GB" smtClean="0"/>
              <a:t>26/10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E225CF5-F918-45F3-B62D-A2455C31D5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92531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DC3E0AA-A38A-446A-BB7B-F25FB1519DA2}" type="datetimeFigureOut">
              <a:rPr lang="en-GB" smtClean="0"/>
              <a:t>26/10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193E4F-19FE-4FA2-8756-7C402521ED0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21960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193E4F-19FE-4FA2-8756-7C402521ED0D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48074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dd business usage</a:t>
            </a:r>
            <a:r>
              <a:rPr lang="en-GB" baseline="0" dirty="0" smtClean="0"/>
              <a:t> – reduction in c. 8%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2193E4F-19FE-4FA2-8756-7C402521ED0D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9619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&#10;&#10;Description automatically generated">
            <a:extLst>
              <a:ext uri="{FF2B5EF4-FFF2-40B4-BE49-F238E27FC236}">
                <a16:creationId xmlns="" xmlns:a16="http://schemas.microsoft.com/office/drawing/2014/main" id="{3FBB4CE0-98D2-4D46-90FB-327A02479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87163" y="1503680"/>
            <a:ext cx="7106598" cy="118564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4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chemeClr val="bg1">
                    <a:alpha val="16000"/>
                  </a:schemeClr>
                </a:solidFill>
              </a:rPr>
              <a:t>Copyright © United Utilities Water Limited 202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7482" y="2982657"/>
            <a:ext cx="7086278" cy="175190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CA58EE7C-ED03-4F55-9FCC-9E3A526BF5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9150" y="2689326"/>
            <a:ext cx="4177504" cy="430564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32A593BE-8D00-4A6C-A105-EA93F0D933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69561" y="3643758"/>
            <a:ext cx="1971028" cy="163256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C0DB6A67-7AD9-4401-9641-A63E6F558A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3087" y="4135656"/>
            <a:ext cx="424295" cy="60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2267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Right 2">
            <a:extLst>
              <a:ext uri="{FF2B5EF4-FFF2-40B4-BE49-F238E27FC236}">
                <a16:creationId xmlns="" xmlns:a16="http://schemas.microsoft.com/office/drawing/2014/main" id="{15C31E0B-0D30-4AEF-88C6-8A58C64DBBB5}"/>
              </a:ext>
            </a:extLst>
          </p:cNvPr>
          <p:cNvSpPr/>
          <p:nvPr userDrawn="1"/>
        </p:nvSpPr>
        <p:spPr>
          <a:xfrm>
            <a:off x="0" y="1700664"/>
            <a:ext cx="6990080" cy="3454400"/>
          </a:xfrm>
          <a:prstGeom prst="rightArrow">
            <a:avLst>
              <a:gd name="adj1" fmla="val 100000"/>
              <a:gd name="adj2" fmla="val 244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2288638"/>
            <a:ext cx="4653279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="" xmlns:a16="http://schemas.microsoft.com/office/drawing/2014/main" id="{DB0742B1-A627-4893-87C2-492C2B66B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3026761"/>
            <a:ext cx="4653279" cy="14983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7052DD47-3E35-466F-8244-456324C76784}"/>
              </a:ext>
            </a:extLst>
          </p:cNvPr>
          <p:cNvGrpSpPr/>
          <p:nvPr userDrawn="1"/>
        </p:nvGrpSpPr>
        <p:grpSpPr>
          <a:xfrm>
            <a:off x="5831147" y="2600069"/>
            <a:ext cx="5726097" cy="1645430"/>
            <a:chOff x="5831147" y="2697725"/>
            <a:chExt cx="5726097" cy="1645430"/>
          </a:xfrm>
        </p:grpSpPr>
        <p:sp>
          <p:nvSpPr>
            <p:cNvPr id="7" name="Hexagon 6">
              <a:extLst>
                <a:ext uri="{FF2B5EF4-FFF2-40B4-BE49-F238E27FC236}">
                  <a16:creationId xmlns="" xmlns:a16="http://schemas.microsoft.com/office/drawing/2014/main" id="{FFB54227-E35B-4813-8FA2-DC0687184A26}"/>
                </a:ext>
              </a:extLst>
            </p:cNvPr>
            <p:cNvSpPr/>
            <p:nvPr userDrawn="1"/>
          </p:nvSpPr>
          <p:spPr>
            <a:xfrm>
              <a:off x="5831147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Hexagon 7">
              <a:extLst>
                <a:ext uri="{FF2B5EF4-FFF2-40B4-BE49-F238E27FC236}">
                  <a16:creationId xmlns="" xmlns:a16="http://schemas.microsoft.com/office/drawing/2014/main" id="{2A0CA8AB-1671-4DD1-9154-EA62B162A465}"/>
                </a:ext>
              </a:extLst>
            </p:cNvPr>
            <p:cNvSpPr/>
            <p:nvPr userDrawn="1"/>
          </p:nvSpPr>
          <p:spPr>
            <a:xfrm>
              <a:off x="7739846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Hexagon 8">
              <a:extLst>
                <a:ext uri="{FF2B5EF4-FFF2-40B4-BE49-F238E27FC236}">
                  <a16:creationId xmlns="" xmlns:a16="http://schemas.microsoft.com/office/drawing/2014/main" id="{639165BE-9D5F-44E5-A10B-41B0463157AC}"/>
                </a:ext>
              </a:extLst>
            </p:cNvPr>
            <p:cNvSpPr/>
            <p:nvPr userDrawn="1"/>
          </p:nvSpPr>
          <p:spPr>
            <a:xfrm>
              <a:off x="9648545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Graphic 11">
              <a:extLst>
                <a:ext uri="{FF2B5EF4-FFF2-40B4-BE49-F238E27FC236}">
                  <a16:creationId xmlns="" xmlns:a16="http://schemas.microsoft.com/office/drawing/2014/main" id="{8FFC019D-A9EA-4514-BC25-9FD22CB1BD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36182" y="3153728"/>
              <a:ext cx="513398" cy="733425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="" xmlns:a16="http://schemas.microsoft.com/office/drawing/2014/main" id="{A2B20514-706C-4EF1-A68A-B660E9E0AAF9}"/>
                </a:ext>
              </a:extLst>
            </p:cNvPr>
            <p:cNvGrpSpPr/>
            <p:nvPr userDrawn="1"/>
          </p:nvGrpSpPr>
          <p:grpSpPr>
            <a:xfrm>
              <a:off x="6093476" y="3302493"/>
              <a:ext cx="1360628" cy="448434"/>
              <a:chOff x="5851743" y="3236595"/>
              <a:chExt cx="1452551" cy="478730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="" xmlns:a16="http://schemas.microsoft.com/office/drawing/2014/main" id="{6056861D-C90B-4ED2-8BB3-FD4DA0D02E4C}"/>
                  </a:ext>
                </a:extLst>
              </p:cNvPr>
              <p:cNvSpPr/>
              <p:nvPr/>
            </p:nvSpPr>
            <p:spPr>
              <a:xfrm>
                <a:off x="6080237" y="3246887"/>
                <a:ext cx="249957" cy="322455"/>
              </a:xfrm>
              <a:custGeom>
                <a:avLst/>
                <a:gdLst>
                  <a:gd name="connsiteX0" fmla="*/ 39994 w 249957"/>
                  <a:gd name="connsiteY0" fmla="*/ 314152 h 322455"/>
                  <a:gd name="connsiteX1" fmla="*/ 249958 w 249957"/>
                  <a:gd name="connsiteY1" fmla="*/ 93731 h 322455"/>
                  <a:gd name="connsiteX2" fmla="*/ 52860 w 249957"/>
                  <a:gd name="connsiteY2" fmla="*/ 0 h 322455"/>
                  <a:gd name="connsiteX3" fmla="*/ 39994 w 249957"/>
                  <a:gd name="connsiteY3" fmla="*/ 314152 h 322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957" h="322455">
                    <a:moveTo>
                      <a:pt x="39994" y="314152"/>
                    </a:moveTo>
                    <a:cubicBezTo>
                      <a:pt x="138981" y="362933"/>
                      <a:pt x="217163" y="184724"/>
                      <a:pt x="249958" y="93731"/>
                    </a:cubicBezTo>
                    <a:cubicBezTo>
                      <a:pt x="199588" y="59732"/>
                      <a:pt x="127921" y="19655"/>
                      <a:pt x="52860" y="0"/>
                    </a:cubicBezTo>
                    <a:cubicBezTo>
                      <a:pt x="30139" y="57761"/>
                      <a:pt x="-46072" y="272050"/>
                      <a:pt x="39994" y="31415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="" xmlns:a16="http://schemas.microsoft.com/office/drawing/2014/main" id="{46CF8035-28FD-4E8C-9038-96D988689DCA}"/>
                  </a:ext>
                </a:extLst>
              </p:cNvPr>
              <p:cNvSpPr/>
              <p:nvPr/>
            </p:nvSpPr>
            <p:spPr>
              <a:xfrm>
                <a:off x="5851743" y="3236595"/>
                <a:ext cx="564050" cy="478730"/>
              </a:xfrm>
              <a:custGeom>
                <a:avLst/>
                <a:gdLst>
                  <a:gd name="connsiteX0" fmla="*/ 540756 w 564050"/>
                  <a:gd name="connsiteY0" fmla="*/ 151546 h 478730"/>
                  <a:gd name="connsiteX1" fmla="*/ 499092 w 564050"/>
                  <a:gd name="connsiteY1" fmla="*/ 118423 h 478730"/>
                  <a:gd name="connsiteX2" fmla="*/ 246150 w 564050"/>
                  <a:gd name="connsiteY2" fmla="*/ 402024 h 478730"/>
                  <a:gd name="connsiteX3" fmla="*/ 159591 w 564050"/>
                  <a:gd name="connsiteY3" fmla="*/ 0 h 478730"/>
                  <a:gd name="connsiteX4" fmla="*/ 93892 w 564050"/>
                  <a:gd name="connsiteY4" fmla="*/ 19108 h 478730"/>
                  <a:gd name="connsiteX5" fmla="*/ 229670 w 564050"/>
                  <a:gd name="connsiteY5" fmla="*/ 478619 h 478730"/>
                  <a:gd name="connsiteX6" fmla="*/ 540756 w 564050"/>
                  <a:gd name="connsiteY6" fmla="*/ 151546 h 4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4050" h="478730">
                    <a:moveTo>
                      <a:pt x="540756" y="151546"/>
                    </a:moveTo>
                    <a:cubicBezTo>
                      <a:pt x="527476" y="139762"/>
                      <a:pt x="513568" y="128704"/>
                      <a:pt x="499092" y="118423"/>
                    </a:cubicBezTo>
                    <a:cubicBezTo>
                      <a:pt x="466242" y="232192"/>
                      <a:pt x="390031" y="415000"/>
                      <a:pt x="246150" y="402024"/>
                    </a:cubicBezTo>
                    <a:cubicBezTo>
                      <a:pt x="14779" y="381001"/>
                      <a:pt x="137089" y="55735"/>
                      <a:pt x="159591" y="0"/>
                    </a:cubicBezTo>
                    <a:cubicBezTo>
                      <a:pt x="136808" y="2804"/>
                      <a:pt x="114625" y="9255"/>
                      <a:pt x="93892" y="19108"/>
                    </a:cubicBezTo>
                    <a:cubicBezTo>
                      <a:pt x="-114758" y="118642"/>
                      <a:pt x="66517" y="473034"/>
                      <a:pt x="229670" y="478619"/>
                    </a:cubicBezTo>
                    <a:cubicBezTo>
                      <a:pt x="409358" y="484696"/>
                      <a:pt x="638265" y="240897"/>
                      <a:pt x="540756" y="151546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="" xmlns:a16="http://schemas.microsoft.com/office/drawing/2014/main" id="{483D5C08-57B6-419F-8101-DB6C2A790ED8}"/>
                  </a:ext>
                </a:extLst>
              </p:cNvPr>
              <p:cNvSpPr/>
              <p:nvPr/>
            </p:nvSpPr>
            <p:spPr>
              <a:xfrm>
                <a:off x="7000655" y="3307878"/>
                <a:ext cx="133259" cy="158908"/>
              </a:xfrm>
              <a:custGeom>
                <a:avLst/>
                <a:gdLst>
                  <a:gd name="connsiteX0" fmla="*/ 85464 w 133259"/>
                  <a:gd name="connsiteY0" fmla="*/ 23214 h 158908"/>
                  <a:gd name="connsiteX1" fmla="*/ 99552 w 133259"/>
                  <a:gd name="connsiteY1" fmla="*/ 33852 h 158908"/>
                  <a:gd name="connsiteX2" fmla="*/ 99589 w 133259"/>
                  <a:gd name="connsiteY2" fmla="*/ 37011 h 158908"/>
                  <a:gd name="connsiteX3" fmla="*/ 41774 w 133259"/>
                  <a:gd name="connsiteY3" fmla="*/ 77142 h 158908"/>
                  <a:gd name="connsiteX4" fmla="*/ 85573 w 133259"/>
                  <a:gd name="connsiteY4" fmla="*/ 23214 h 158908"/>
                  <a:gd name="connsiteX5" fmla="*/ 133260 w 133259"/>
                  <a:gd name="connsiteY5" fmla="*/ 31645 h 158908"/>
                  <a:gd name="connsiteX6" fmla="*/ 94935 w 133259"/>
                  <a:gd name="connsiteY6" fmla="*/ 0 h 158908"/>
                  <a:gd name="connsiteX7" fmla="*/ 0 w 133259"/>
                  <a:gd name="connsiteY7" fmla="*/ 102984 h 158908"/>
                  <a:gd name="connsiteX8" fmla="*/ 48727 w 133259"/>
                  <a:gd name="connsiteY8" fmla="*/ 158883 h 158908"/>
                  <a:gd name="connsiteX9" fmla="*/ 114043 w 133259"/>
                  <a:gd name="connsiteY9" fmla="*/ 138023 h 158908"/>
                  <a:gd name="connsiteX10" fmla="*/ 107583 w 133259"/>
                  <a:gd name="connsiteY10" fmla="*/ 124391 h 158908"/>
                  <a:gd name="connsiteX11" fmla="*/ 64440 w 133259"/>
                  <a:gd name="connsiteY11" fmla="*/ 133862 h 158908"/>
                  <a:gd name="connsiteX12" fmla="*/ 39420 w 133259"/>
                  <a:gd name="connsiteY12" fmla="*/ 93074 h 158908"/>
                  <a:gd name="connsiteX13" fmla="*/ 133096 w 133259"/>
                  <a:gd name="connsiteY13" fmla="*/ 31645 h 1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259" h="158908">
                    <a:moveTo>
                      <a:pt x="85464" y="23214"/>
                    </a:moveTo>
                    <a:cubicBezTo>
                      <a:pt x="92292" y="22261"/>
                      <a:pt x="98599" y="27024"/>
                      <a:pt x="99552" y="33852"/>
                    </a:cubicBezTo>
                    <a:cubicBezTo>
                      <a:pt x="99698" y="34899"/>
                      <a:pt x="99710" y="35960"/>
                      <a:pt x="99589" y="37011"/>
                    </a:cubicBezTo>
                    <a:cubicBezTo>
                      <a:pt x="99589" y="55844"/>
                      <a:pt x="71886" y="72433"/>
                      <a:pt x="41774" y="77142"/>
                    </a:cubicBezTo>
                    <a:cubicBezTo>
                      <a:pt x="50369" y="44292"/>
                      <a:pt x="65973" y="23214"/>
                      <a:pt x="85573" y="23214"/>
                    </a:cubicBezTo>
                    <a:moveTo>
                      <a:pt x="133260" y="31645"/>
                    </a:moveTo>
                    <a:cubicBezTo>
                      <a:pt x="133260" y="9745"/>
                      <a:pt x="111908" y="0"/>
                      <a:pt x="94935" y="0"/>
                    </a:cubicBezTo>
                    <a:cubicBezTo>
                      <a:pt x="35313" y="0"/>
                      <a:pt x="0" y="60553"/>
                      <a:pt x="0" y="102984"/>
                    </a:cubicBezTo>
                    <a:cubicBezTo>
                      <a:pt x="0" y="139392"/>
                      <a:pt x="20421" y="158883"/>
                      <a:pt x="48727" y="158883"/>
                    </a:cubicBezTo>
                    <a:cubicBezTo>
                      <a:pt x="72215" y="159400"/>
                      <a:pt x="95203" y="152058"/>
                      <a:pt x="114043" y="138023"/>
                    </a:cubicBezTo>
                    <a:lnTo>
                      <a:pt x="107583" y="124391"/>
                    </a:lnTo>
                    <a:cubicBezTo>
                      <a:pt x="94835" y="132696"/>
                      <a:pt x="79495" y="136064"/>
                      <a:pt x="64440" y="133862"/>
                    </a:cubicBezTo>
                    <a:cubicBezTo>
                      <a:pt x="38763" y="127621"/>
                      <a:pt x="38270" y="106487"/>
                      <a:pt x="39420" y="93074"/>
                    </a:cubicBezTo>
                    <a:cubicBezTo>
                      <a:pt x="72871" y="91760"/>
                      <a:pt x="133096" y="75226"/>
                      <a:pt x="133096" y="31645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="" xmlns:a16="http://schemas.microsoft.com/office/drawing/2014/main" id="{8934BB35-D11F-482C-91AC-5077CEA2BE4B}"/>
                  </a:ext>
                </a:extLst>
              </p:cNvPr>
              <p:cNvSpPr/>
              <p:nvPr/>
            </p:nvSpPr>
            <p:spPr>
              <a:xfrm>
                <a:off x="6907372" y="3265940"/>
                <a:ext cx="93392" cy="200601"/>
              </a:xfrm>
              <a:custGeom>
                <a:avLst/>
                <a:gdLst>
                  <a:gd name="connsiteX0" fmla="*/ 69959 w 93392"/>
                  <a:gd name="connsiteY0" fmla="*/ 175472 h 200601"/>
                  <a:gd name="connsiteX1" fmla="*/ 76256 w 93392"/>
                  <a:gd name="connsiteY1" fmla="*/ 189652 h 200601"/>
                  <a:gd name="connsiteX2" fmla="*/ 35577 w 93392"/>
                  <a:gd name="connsiteY2" fmla="*/ 200602 h 200601"/>
                  <a:gd name="connsiteX3" fmla="*/ 1961 w 93392"/>
                  <a:gd name="connsiteY3" fmla="*/ 146564 h 200601"/>
                  <a:gd name="connsiteX4" fmla="*/ 29335 w 93392"/>
                  <a:gd name="connsiteY4" fmla="*/ 0 h 200601"/>
                  <a:gd name="connsiteX5" fmla="*/ 65580 w 93392"/>
                  <a:gd name="connsiteY5" fmla="*/ 0 h 200601"/>
                  <a:gd name="connsiteX6" fmla="*/ 57148 w 93392"/>
                  <a:gd name="connsiteY6" fmla="*/ 45278 h 200601"/>
                  <a:gd name="connsiteX7" fmla="*/ 93392 w 93392"/>
                  <a:gd name="connsiteY7" fmla="*/ 45278 h 200601"/>
                  <a:gd name="connsiteX8" fmla="*/ 89779 w 93392"/>
                  <a:gd name="connsiteY8" fmla="*/ 66356 h 200601"/>
                  <a:gd name="connsiteX9" fmla="*/ 53261 w 93392"/>
                  <a:gd name="connsiteY9" fmla="*/ 66356 h 200601"/>
                  <a:gd name="connsiteX10" fmla="*/ 39026 w 93392"/>
                  <a:gd name="connsiteY10" fmla="*/ 141965 h 200601"/>
                  <a:gd name="connsiteX11" fmla="*/ 69959 w 93392"/>
                  <a:gd name="connsiteY11" fmla="*/ 175472 h 200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392" h="200601">
                    <a:moveTo>
                      <a:pt x="69959" y="175472"/>
                    </a:moveTo>
                    <a:lnTo>
                      <a:pt x="76256" y="189652"/>
                    </a:lnTo>
                    <a:cubicBezTo>
                      <a:pt x="63898" y="196822"/>
                      <a:pt x="49864" y="200599"/>
                      <a:pt x="35577" y="200602"/>
                    </a:cubicBezTo>
                    <a:cubicBezTo>
                      <a:pt x="9078" y="200602"/>
                      <a:pt x="-5540" y="187133"/>
                      <a:pt x="1961" y="146564"/>
                    </a:cubicBezTo>
                    <a:lnTo>
                      <a:pt x="29335" y="0"/>
                    </a:lnTo>
                    <a:lnTo>
                      <a:pt x="65580" y="0"/>
                    </a:lnTo>
                    <a:lnTo>
                      <a:pt x="57148" y="45278"/>
                    </a:lnTo>
                    <a:lnTo>
                      <a:pt x="93392" y="45278"/>
                    </a:lnTo>
                    <a:lnTo>
                      <a:pt x="89779" y="66356"/>
                    </a:lnTo>
                    <a:lnTo>
                      <a:pt x="53261" y="66356"/>
                    </a:lnTo>
                    <a:lnTo>
                      <a:pt x="39026" y="141965"/>
                    </a:lnTo>
                    <a:cubicBezTo>
                      <a:pt x="30923" y="185217"/>
                      <a:pt x="52604" y="181658"/>
                      <a:pt x="69959" y="17547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="" xmlns:a16="http://schemas.microsoft.com/office/drawing/2014/main" id="{8FABBC5F-2082-412F-9EAB-2E21A310917A}"/>
                  </a:ext>
                </a:extLst>
              </p:cNvPr>
              <p:cNvSpPr/>
              <p:nvPr/>
            </p:nvSpPr>
            <p:spPr>
              <a:xfrm>
                <a:off x="7142565" y="3266159"/>
                <a:ext cx="161729" cy="200492"/>
              </a:xfrm>
              <a:custGeom>
                <a:avLst/>
                <a:gdLst>
                  <a:gd name="connsiteX0" fmla="*/ 84588 w 161729"/>
                  <a:gd name="connsiteY0" fmla="*/ 63509 h 200492"/>
                  <a:gd name="connsiteX1" fmla="*/ 110977 w 161729"/>
                  <a:gd name="connsiteY1" fmla="*/ 77744 h 200492"/>
                  <a:gd name="connsiteX2" fmla="*/ 56939 w 161729"/>
                  <a:gd name="connsiteY2" fmla="*/ 180290 h 200492"/>
                  <a:gd name="connsiteX3" fmla="*/ 36354 w 161729"/>
                  <a:gd name="connsiteY3" fmla="*/ 144429 h 200492"/>
                  <a:gd name="connsiteX4" fmla="*/ 84588 w 161729"/>
                  <a:gd name="connsiteY4" fmla="*/ 63345 h 200492"/>
                  <a:gd name="connsiteX5" fmla="*/ 161730 w 161729"/>
                  <a:gd name="connsiteY5" fmla="*/ 0 h 200492"/>
                  <a:gd name="connsiteX6" fmla="*/ 125431 w 161729"/>
                  <a:gd name="connsiteY6" fmla="*/ 0 h 200492"/>
                  <a:gd name="connsiteX7" fmla="*/ 115247 w 161729"/>
                  <a:gd name="connsiteY7" fmla="*/ 55735 h 200492"/>
                  <a:gd name="connsiteX8" fmla="*/ 80536 w 161729"/>
                  <a:gd name="connsiteY8" fmla="*/ 41610 h 200492"/>
                  <a:gd name="connsiteX9" fmla="*/ 0 w 161729"/>
                  <a:gd name="connsiteY9" fmla="*/ 144155 h 200492"/>
                  <a:gd name="connsiteX10" fmla="*/ 52121 w 161729"/>
                  <a:gd name="connsiteY10" fmla="*/ 200492 h 200492"/>
                  <a:gd name="connsiteX11" fmla="*/ 142786 w 161729"/>
                  <a:gd name="connsiteY11" fmla="*/ 101943 h 20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1729" h="200492">
                    <a:moveTo>
                      <a:pt x="84588" y="63509"/>
                    </a:moveTo>
                    <a:cubicBezTo>
                      <a:pt x="95414" y="62673"/>
                      <a:pt x="105730" y="68238"/>
                      <a:pt x="110977" y="77744"/>
                    </a:cubicBezTo>
                    <a:cubicBezTo>
                      <a:pt x="96030" y="158828"/>
                      <a:pt x="78127" y="180290"/>
                      <a:pt x="56939" y="180290"/>
                    </a:cubicBezTo>
                    <a:cubicBezTo>
                      <a:pt x="43745" y="180290"/>
                      <a:pt x="36354" y="166164"/>
                      <a:pt x="36354" y="144429"/>
                    </a:cubicBezTo>
                    <a:cubicBezTo>
                      <a:pt x="36354" y="102984"/>
                      <a:pt x="62579" y="63345"/>
                      <a:pt x="84588" y="63345"/>
                    </a:cubicBezTo>
                    <a:moveTo>
                      <a:pt x="161730" y="0"/>
                    </a:moveTo>
                    <a:lnTo>
                      <a:pt x="125431" y="0"/>
                    </a:lnTo>
                    <a:lnTo>
                      <a:pt x="115247" y="55735"/>
                    </a:lnTo>
                    <a:cubicBezTo>
                      <a:pt x="106156" y="46387"/>
                      <a:pt x="93571" y="41266"/>
                      <a:pt x="80536" y="41610"/>
                    </a:cubicBezTo>
                    <a:cubicBezTo>
                      <a:pt x="33288" y="41610"/>
                      <a:pt x="0" y="93731"/>
                      <a:pt x="0" y="144155"/>
                    </a:cubicBezTo>
                    <a:cubicBezTo>
                      <a:pt x="0" y="174158"/>
                      <a:pt x="21079" y="200492"/>
                      <a:pt x="52121" y="200492"/>
                    </a:cubicBezTo>
                    <a:cubicBezTo>
                      <a:pt x="118587" y="200492"/>
                      <a:pt x="134629" y="146455"/>
                      <a:pt x="142786" y="1019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="" xmlns:a16="http://schemas.microsoft.com/office/drawing/2014/main" id="{B7312AE0-F451-480B-AA2D-080FA8EE4AC7}"/>
                  </a:ext>
                </a:extLst>
              </p:cNvPr>
              <p:cNvSpPr/>
              <p:nvPr/>
            </p:nvSpPr>
            <p:spPr>
              <a:xfrm>
                <a:off x="6822555" y="3311492"/>
                <a:ext cx="64330" cy="151819"/>
              </a:xfrm>
              <a:custGeom>
                <a:avLst/>
                <a:gdLst>
                  <a:gd name="connsiteX0" fmla="*/ 64330 w 64330"/>
                  <a:gd name="connsiteY0" fmla="*/ 0 h 151819"/>
                  <a:gd name="connsiteX1" fmla="*/ 36244 w 64330"/>
                  <a:gd name="connsiteY1" fmla="*/ 151820 h 151819"/>
                  <a:gd name="connsiteX2" fmla="*/ 0 w 64330"/>
                  <a:gd name="connsiteY2" fmla="*/ 151820 h 151819"/>
                  <a:gd name="connsiteX3" fmla="*/ 28086 w 64330"/>
                  <a:gd name="connsiteY3" fmla="*/ 0 h 151819"/>
                  <a:gd name="connsiteX4" fmla="*/ 64330 w 64330"/>
                  <a:gd name="connsiteY4" fmla="*/ 0 h 15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30" h="151819">
                    <a:moveTo>
                      <a:pt x="64330" y="0"/>
                    </a:moveTo>
                    <a:lnTo>
                      <a:pt x="36244" y="151820"/>
                    </a:lnTo>
                    <a:lnTo>
                      <a:pt x="0" y="151820"/>
                    </a:lnTo>
                    <a:lnTo>
                      <a:pt x="28086" y="0"/>
                    </a:lnTo>
                    <a:lnTo>
                      <a:pt x="64330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="" xmlns:a16="http://schemas.microsoft.com/office/drawing/2014/main" id="{5204D0ED-84EC-4DA1-94D9-3487AFB64059}"/>
                  </a:ext>
                </a:extLst>
              </p:cNvPr>
              <p:cNvSpPr/>
              <p:nvPr/>
            </p:nvSpPr>
            <p:spPr>
              <a:xfrm>
                <a:off x="6856774" y="3250556"/>
                <a:ext cx="39528" cy="39529"/>
              </a:xfrm>
              <a:custGeom>
                <a:avLst/>
                <a:gdLst>
                  <a:gd name="connsiteX0" fmla="*/ 19764 w 39528"/>
                  <a:gd name="connsiteY0" fmla="*/ 0 h 39529"/>
                  <a:gd name="connsiteX1" fmla="*/ 0 w 39528"/>
                  <a:gd name="connsiteY1" fmla="*/ 19765 h 39529"/>
                  <a:gd name="connsiteX2" fmla="*/ 19765 w 39528"/>
                  <a:gd name="connsiteY2" fmla="*/ 39529 h 39529"/>
                  <a:gd name="connsiteX3" fmla="*/ 39529 w 39528"/>
                  <a:gd name="connsiteY3" fmla="*/ 19874 h 39529"/>
                  <a:gd name="connsiteX4" fmla="*/ 19764 w 39528"/>
                  <a:gd name="connsiteY4" fmla="*/ 0 h 3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" h="39529">
                    <a:moveTo>
                      <a:pt x="19764" y="0"/>
                    </a:moveTo>
                    <a:cubicBezTo>
                      <a:pt x="8849" y="0"/>
                      <a:pt x="0" y="8849"/>
                      <a:pt x="0" y="19765"/>
                    </a:cubicBezTo>
                    <a:cubicBezTo>
                      <a:pt x="0" y="30680"/>
                      <a:pt x="8849" y="39529"/>
                      <a:pt x="19765" y="39529"/>
                    </a:cubicBezTo>
                    <a:cubicBezTo>
                      <a:pt x="30638" y="39529"/>
                      <a:pt x="39469" y="30747"/>
                      <a:pt x="39529" y="19874"/>
                    </a:cubicBezTo>
                    <a:cubicBezTo>
                      <a:pt x="39559" y="8928"/>
                      <a:pt x="30710" y="30"/>
                      <a:pt x="19764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="" xmlns:a16="http://schemas.microsoft.com/office/drawing/2014/main" id="{26BEAC28-0FB1-4290-9B53-BA025410CB3B}"/>
                  </a:ext>
                </a:extLst>
              </p:cNvPr>
              <p:cNvSpPr/>
              <p:nvPr/>
            </p:nvSpPr>
            <p:spPr>
              <a:xfrm>
                <a:off x="6652996" y="3307550"/>
                <a:ext cx="149190" cy="155488"/>
              </a:xfrm>
              <a:custGeom>
                <a:avLst/>
                <a:gdLst>
                  <a:gd name="connsiteX0" fmla="*/ 95428 w 149190"/>
                  <a:gd name="connsiteY0" fmla="*/ 219 h 155488"/>
                  <a:gd name="connsiteX1" fmla="*/ 13304 w 149190"/>
                  <a:gd name="connsiteY1" fmla="*/ 84205 h 155488"/>
                  <a:gd name="connsiteX2" fmla="*/ 0 w 149190"/>
                  <a:gd name="connsiteY2" fmla="*/ 155379 h 155488"/>
                  <a:gd name="connsiteX3" fmla="*/ 36299 w 149190"/>
                  <a:gd name="connsiteY3" fmla="*/ 155379 h 155488"/>
                  <a:gd name="connsiteX4" fmla="*/ 52286 w 149190"/>
                  <a:gd name="connsiteY4" fmla="*/ 67780 h 155488"/>
                  <a:gd name="connsiteX5" fmla="*/ 90063 w 149190"/>
                  <a:gd name="connsiteY5" fmla="*/ 24856 h 155488"/>
                  <a:gd name="connsiteX6" fmla="*/ 113167 w 149190"/>
                  <a:gd name="connsiteY6" fmla="*/ 67889 h 155488"/>
                  <a:gd name="connsiteX7" fmla="*/ 97125 w 149190"/>
                  <a:gd name="connsiteY7" fmla="*/ 155488 h 155488"/>
                  <a:gd name="connsiteX8" fmla="*/ 133260 w 149190"/>
                  <a:gd name="connsiteY8" fmla="*/ 155488 h 155488"/>
                  <a:gd name="connsiteX9" fmla="*/ 146455 w 149190"/>
                  <a:gd name="connsiteY9" fmla="*/ 84314 h 155488"/>
                  <a:gd name="connsiteX10" fmla="*/ 95592 w 149190"/>
                  <a:gd name="connsiteY10" fmla="*/ 0 h 15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190" h="155488">
                    <a:moveTo>
                      <a:pt x="95428" y="219"/>
                    </a:moveTo>
                    <a:cubicBezTo>
                      <a:pt x="47030" y="219"/>
                      <a:pt x="24254" y="25404"/>
                      <a:pt x="13304" y="84205"/>
                    </a:cubicBezTo>
                    <a:lnTo>
                      <a:pt x="0" y="155379"/>
                    </a:lnTo>
                    <a:lnTo>
                      <a:pt x="36299" y="155379"/>
                    </a:lnTo>
                    <a:lnTo>
                      <a:pt x="52286" y="67780"/>
                    </a:lnTo>
                    <a:cubicBezTo>
                      <a:pt x="57761" y="40405"/>
                      <a:pt x="69477" y="24856"/>
                      <a:pt x="90063" y="24856"/>
                    </a:cubicBezTo>
                    <a:cubicBezTo>
                      <a:pt x="111962" y="24856"/>
                      <a:pt x="117437" y="45770"/>
                      <a:pt x="113167" y="67889"/>
                    </a:cubicBezTo>
                    <a:lnTo>
                      <a:pt x="97125" y="155488"/>
                    </a:lnTo>
                    <a:lnTo>
                      <a:pt x="133260" y="155488"/>
                    </a:lnTo>
                    <a:lnTo>
                      <a:pt x="146455" y="84314"/>
                    </a:lnTo>
                    <a:cubicBezTo>
                      <a:pt x="155269" y="37120"/>
                      <a:pt x="143936" y="0"/>
                      <a:pt x="95592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="" xmlns:a16="http://schemas.microsoft.com/office/drawing/2014/main" id="{2C30E0F2-40AA-4F40-85B6-C84D5A5B1E13}"/>
                  </a:ext>
                </a:extLst>
              </p:cNvPr>
              <p:cNvSpPr/>
              <p:nvPr/>
            </p:nvSpPr>
            <p:spPr>
              <a:xfrm>
                <a:off x="6476996" y="3266159"/>
                <a:ext cx="182460" cy="200382"/>
              </a:xfrm>
              <a:custGeom>
                <a:avLst/>
                <a:gdLst>
                  <a:gd name="connsiteX0" fmla="*/ 138935 w 182460"/>
                  <a:gd name="connsiteY0" fmla="*/ 0 h 200382"/>
                  <a:gd name="connsiteX1" fmla="*/ 117035 w 182460"/>
                  <a:gd name="connsiteY1" fmla="*/ 118642 h 200382"/>
                  <a:gd name="connsiteX2" fmla="*/ 71648 w 182460"/>
                  <a:gd name="connsiteY2" fmla="*/ 170599 h 200382"/>
                  <a:gd name="connsiteX3" fmla="*/ 43452 w 182460"/>
                  <a:gd name="connsiteY3" fmla="*/ 118259 h 200382"/>
                  <a:gd name="connsiteX4" fmla="*/ 65351 w 182460"/>
                  <a:gd name="connsiteY4" fmla="*/ 0 h 200382"/>
                  <a:gd name="connsiteX5" fmla="*/ 21552 w 182460"/>
                  <a:gd name="connsiteY5" fmla="*/ 0 h 200382"/>
                  <a:gd name="connsiteX6" fmla="*/ 3101 w 182460"/>
                  <a:gd name="connsiteY6" fmla="*/ 98549 h 200382"/>
                  <a:gd name="connsiteX7" fmla="*/ 64804 w 182460"/>
                  <a:gd name="connsiteY7" fmla="*/ 200383 h 200382"/>
                  <a:gd name="connsiteX8" fmla="*/ 164229 w 182460"/>
                  <a:gd name="connsiteY8" fmla="*/ 98713 h 200382"/>
                  <a:gd name="connsiteX9" fmla="*/ 182460 w 182460"/>
                  <a:gd name="connsiteY9" fmla="*/ 0 h 200382"/>
                  <a:gd name="connsiteX10" fmla="*/ 138661 w 182460"/>
                  <a:gd name="connsiteY10" fmla="*/ 0 h 200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460" h="200382">
                    <a:moveTo>
                      <a:pt x="138935" y="0"/>
                    </a:moveTo>
                    <a:lnTo>
                      <a:pt x="117035" y="118642"/>
                    </a:lnTo>
                    <a:cubicBezTo>
                      <a:pt x="110574" y="151820"/>
                      <a:pt x="96504" y="170599"/>
                      <a:pt x="71648" y="170599"/>
                    </a:cubicBezTo>
                    <a:cubicBezTo>
                      <a:pt x="45313" y="170599"/>
                      <a:pt x="38470" y="145086"/>
                      <a:pt x="43452" y="118259"/>
                    </a:cubicBezTo>
                    <a:lnTo>
                      <a:pt x="65351" y="0"/>
                    </a:lnTo>
                    <a:lnTo>
                      <a:pt x="21552" y="0"/>
                    </a:lnTo>
                    <a:lnTo>
                      <a:pt x="3101" y="98549"/>
                    </a:lnTo>
                    <a:cubicBezTo>
                      <a:pt x="-6972" y="155652"/>
                      <a:pt x="5948" y="200383"/>
                      <a:pt x="64804" y="200383"/>
                    </a:cubicBezTo>
                    <a:cubicBezTo>
                      <a:pt x="123660" y="200383"/>
                      <a:pt x="150980" y="169997"/>
                      <a:pt x="164229" y="98713"/>
                    </a:cubicBezTo>
                    <a:lnTo>
                      <a:pt x="182460" y="0"/>
                    </a:lnTo>
                    <a:lnTo>
                      <a:pt x="138661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="" xmlns:a16="http://schemas.microsoft.com/office/drawing/2014/main" id="{346EB66A-56F1-4366-AAA0-477C7499BDED}"/>
                  </a:ext>
                </a:extLst>
              </p:cNvPr>
              <p:cNvSpPr/>
              <p:nvPr/>
            </p:nvSpPr>
            <p:spPr>
              <a:xfrm>
                <a:off x="7054473" y="3566350"/>
                <a:ext cx="104790" cy="124845"/>
              </a:xfrm>
              <a:custGeom>
                <a:avLst/>
                <a:gdLst>
                  <a:gd name="connsiteX0" fmla="*/ 67342 w 104790"/>
                  <a:gd name="connsiteY0" fmla="*/ 18067 h 124845"/>
                  <a:gd name="connsiteX1" fmla="*/ 78292 w 104790"/>
                  <a:gd name="connsiteY1" fmla="*/ 27060 h 124845"/>
                  <a:gd name="connsiteX2" fmla="*/ 78292 w 104790"/>
                  <a:gd name="connsiteY2" fmla="*/ 29017 h 124845"/>
                  <a:gd name="connsiteX3" fmla="*/ 32904 w 104790"/>
                  <a:gd name="connsiteY3" fmla="*/ 60279 h 124845"/>
                  <a:gd name="connsiteX4" fmla="*/ 67396 w 104790"/>
                  <a:gd name="connsiteY4" fmla="*/ 18013 h 124845"/>
                  <a:gd name="connsiteX5" fmla="*/ 104790 w 104790"/>
                  <a:gd name="connsiteY5" fmla="*/ 24692 h 124845"/>
                  <a:gd name="connsiteX6" fmla="*/ 74678 w 104790"/>
                  <a:gd name="connsiteY6" fmla="*/ 0 h 124845"/>
                  <a:gd name="connsiteX7" fmla="*/ 0 w 104790"/>
                  <a:gd name="connsiteY7" fmla="*/ 80701 h 124845"/>
                  <a:gd name="connsiteX8" fmla="*/ 38325 w 104790"/>
                  <a:gd name="connsiteY8" fmla="*/ 124829 h 124845"/>
                  <a:gd name="connsiteX9" fmla="*/ 89679 w 104790"/>
                  <a:gd name="connsiteY9" fmla="*/ 108404 h 124845"/>
                  <a:gd name="connsiteX10" fmla="*/ 84697 w 104790"/>
                  <a:gd name="connsiteY10" fmla="*/ 97454 h 124845"/>
                  <a:gd name="connsiteX11" fmla="*/ 50753 w 104790"/>
                  <a:gd name="connsiteY11" fmla="*/ 104845 h 124845"/>
                  <a:gd name="connsiteX12" fmla="*/ 31262 w 104790"/>
                  <a:gd name="connsiteY12" fmla="*/ 72871 h 124845"/>
                  <a:gd name="connsiteX13" fmla="*/ 104736 w 104790"/>
                  <a:gd name="connsiteY13" fmla="*/ 24582 h 12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790" h="124845">
                    <a:moveTo>
                      <a:pt x="67342" y="18067"/>
                    </a:moveTo>
                    <a:cubicBezTo>
                      <a:pt x="72849" y="17527"/>
                      <a:pt x="77751" y="21553"/>
                      <a:pt x="78292" y="27060"/>
                    </a:cubicBezTo>
                    <a:cubicBezTo>
                      <a:pt x="78356" y="27711"/>
                      <a:pt x="78356" y="28366"/>
                      <a:pt x="78292" y="29017"/>
                    </a:cubicBezTo>
                    <a:cubicBezTo>
                      <a:pt x="78292" y="43581"/>
                      <a:pt x="56392" y="56720"/>
                      <a:pt x="32904" y="60279"/>
                    </a:cubicBezTo>
                    <a:cubicBezTo>
                      <a:pt x="39748" y="34492"/>
                      <a:pt x="52012" y="18013"/>
                      <a:pt x="67396" y="18013"/>
                    </a:cubicBezTo>
                    <a:moveTo>
                      <a:pt x="104790" y="24692"/>
                    </a:moveTo>
                    <a:cubicBezTo>
                      <a:pt x="104790" y="7501"/>
                      <a:pt x="87982" y="0"/>
                      <a:pt x="74678" y="0"/>
                    </a:cubicBezTo>
                    <a:cubicBezTo>
                      <a:pt x="27922" y="0"/>
                      <a:pt x="0" y="47522"/>
                      <a:pt x="0" y="80701"/>
                    </a:cubicBezTo>
                    <a:cubicBezTo>
                      <a:pt x="0" y="109334"/>
                      <a:pt x="16425" y="124829"/>
                      <a:pt x="38325" y="124829"/>
                    </a:cubicBezTo>
                    <a:cubicBezTo>
                      <a:pt x="56790" y="125196"/>
                      <a:pt x="74854" y="119419"/>
                      <a:pt x="89679" y="108404"/>
                    </a:cubicBezTo>
                    <a:lnTo>
                      <a:pt x="84697" y="97454"/>
                    </a:lnTo>
                    <a:cubicBezTo>
                      <a:pt x="74712" y="104093"/>
                      <a:pt x="62594" y="106732"/>
                      <a:pt x="50753" y="104845"/>
                    </a:cubicBezTo>
                    <a:cubicBezTo>
                      <a:pt x="30550" y="100137"/>
                      <a:pt x="30331" y="83328"/>
                      <a:pt x="31262" y="72871"/>
                    </a:cubicBezTo>
                    <a:cubicBezTo>
                      <a:pt x="57323" y="71886"/>
                      <a:pt x="104736" y="58910"/>
                      <a:pt x="104736" y="2458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="" xmlns:a16="http://schemas.microsoft.com/office/drawing/2014/main" id="{50707180-598C-469D-A496-B56C5D57664B}"/>
                  </a:ext>
                </a:extLst>
              </p:cNvPr>
              <p:cNvSpPr/>
              <p:nvPr/>
            </p:nvSpPr>
            <p:spPr>
              <a:xfrm>
                <a:off x="6915912" y="3533117"/>
                <a:ext cx="73300" cy="157897"/>
              </a:xfrm>
              <a:custGeom>
                <a:avLst/>
                <a:gdLst>
                  <a:gd name="connsiteX0" fmla="*/ 55069 w 73300"/>
                  <a:gd name="connsiteY0" fmla="*/ 138023 h 157897"/>
                  <a:gd name="connsiteX1" fmla="*/ 60051 w 73300"/>
                  <a:gd name="connsiteY1" fmla="*/ 148973 h 157897"/>
                  <a:gd name="connsiteX2" fmla="*/ 28077 w 73300"/>
                  <a:gd name="connsiteY2" fmla="*/ 157897 h 157897"/>
                  <a:gd name="connsiteX3" fmla="*/ 1579 w 73300"/>
                  <a:gd name="connsiteY3" fmla="*/ 115412 h 157897"/>
                  <a:gd name="connsiteX4" fmla="*/ 23150 w 73300"/>
                  <a:gd name="connsiteY4" fmla="*/ 0 h 157897"/>
                  <a:gd name="connsiteX5" fmla="*/ 51620 w 73300"/>
                  <a:gd name="connsiteY5" fmla="*/ 0 h 157897"/>
                  <a:gd name="connsiteX6" fmla="*/ 44885 w 73300"/>
                  <a:gd name="connsiteY6" fmla="*/ 36135 h 157897"/>
                  <a:gd name="connsiteX7" fmla="*/ 73300 w 73300"/>
                  <a:gd name="connsiteY7" fmla="*/ 36135 h 157897"/>
                  <a:gd name="connsiteX8" fmla="*/ 70508 w 73300"/>
                  <a:gd name="connsiteY8" fmla="*/ 52559 h 157897"/>
                  <a:gd name="connsiteX9" fmla="*/ 41984 w 73300"/>
                  <a:gd name="connsiteY9" fmla="*/ 52559 h 157897"/>
                  <a:gd name="connsiteX10" fmla="*/ 31034 w 73300"/>
                  <a:gd name="connsiteY10" fmla="*/ 111743 h 157897"/>
                  <a:gd name="connsiteX11" fmla="*/ 55343 w 73300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300" h="157897">
                    <a:moveTo>
                      <a:pt x="55069" y="138023"/>
                    </a:moveTo>
                    <a:lnTo>
                      <a:pt x="60051" y="148973"/>
                    </a:lnTo>
                    <a:cubicBezTo>
                      <a:pt x="50378" y="154742"/>
                      <a:pt x="39340" y="157823"/>
                      <a:pt x="28077" y="157897"/>
                    </a:cubicBezTo>
                    <a:cubicBezTo>
                      <a:pt x="7273" y="157897"/>
                      <a:pt x="-4444" y="146947"/>
                      <a:pt x="1579" y="115412"/>
                    </a:cubicBezTo>
                    <a:lnTo>
                      <a:pt x="23150" y="0"/>
                    </a:lnTo>
                    <a:lnTo>
                      <a:pt x="51620" y="0"/>
                    </a:lnTo>
                    <a:lnTo>
                      <a:pt x="44885" y="36135"/>
                    </a:lnTo>
                    <a:lnTo>
                      <a:pt x="73300" y="36135"/>
                    </a:lnTo>
                    <a:lnTo>
                      <a:pt x="70508" y="52559"/>
                    </a:lnTo>
                    <a:lnTo>
                      <a:pt x="41984" y="52559"/>
                    </a:lnTo>
                    <a:lnTo>
                      <a:pt x="31034" y="111743"/>
                    </a:lnTo>
                    <a:cubicBezTo>
                      <a:pt x="24847" y="145907"/>
                      <a:pt x="41984" y="142841"/>
                      <a:pt x="55343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="" xmlns:a16="http://schemas.microsoft.com/office/drawing/2014/main" id="{51EEF882-7A59-4643-AA8F-C0E171AE2EF0}"/>
                  </a:ext>
                </a:extLst>
              </p:cNvPr>
              <p:cNvSpPr/>
              <p:nvPr/>
            </p:nvSpPr>
            <p:spPr>
              <a:xfrm>
                <a:off x="6636935" y="3533117"/>
                <a:ext cx="73219" cy="157897"/>
              </a:xfrm>
              <a:custGeom>
                <a:avLst/>
                <a:gdLst>
                  <a:gd name="connsiteX0" fmla="*/ 54988 w 73219"/>
                  <a:gd name="connsiteY0" fmla="*/ 138023 h 157897"/>
                  <a:gd name="connsiteX1" fmla="*/ 59970 w 73219"/>
                  <a:gd name="connsiteY1" fmla="*/ 148973 h 157897"/>
                  <a:gd name="connsiteX2" fmla="*/ 27996 w 73219"/>
                  <a:gd name="connsiteY2" fmla="*/ 157897 h 157897"/>
                  <a:gd name="connsiteX3" fmla="*/ 1552 w 73219"/>
                  <a:gd name="connsiteY3" fmla="*/ 115412 h 157897"/>
                  <a:gd name="connsiteX4" fmla="*/ 22905 w 73219"/>
                  <a:gd name="connsiteY4" fmla="*/ 0 h 157897"/>
                  <a:gd name="connsiteX5" fmla="*/ 51374 w 73219"/>
                  <a:gd name="connsiteY5" fmla="*/ 0 h 157897"/>
                  <a:gd name="connsiteX6" fmla="*/ 44804 w 73219"/>
                  <a:gd name="connsiteY6" fmla="*/ 36135 h 157897"/>
                  <a:gd name="connsiteX7" fmla="*/ 73219 w 73219"/>
                  <a:gd name="connsiteY7" fmla="*/ 36135 h 157897"/>
                  <a:gd name="connsiteX8" fmla="*/ 70317 w 73219"/>
                  <a:gd name="connsiteY8" fmla="*/ 52559 h 157897"/>
                  <a:gd name="connsiteX9" fmla="*/ 41738 w 73219"/>
                  <a:gd name="connsiteY9" fmla="*/ 52559 h 157897"/>
                  <a:gd name="connsiteX10" fmla="*/ 30788 w 73219"/>
                  <a:gd name="connsiteY10" fmla="*/ 111743 h 157897"/>
                  <a:gd name="connsiteX11" fmla="*/ 55042 w 73219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219" h="157897">
                    <a:moveTo>
                      <a:pt x="54988" y="138023"/>
                    </a:moveTo>
                    <a:lnTo>
                      <a:pt x="59970" y="148973"/>
                    </a:lnTo>
                    <a:cubicBezTo>
                      <a:pt x="50300" y="154749"/>
                      <a:pt x="39260" y="157831"/>
                      <a:pt x="27996" y="157897"/>
                    </a:cubicBezTo>
                    <a:cubicBezTo>
                      <a:pt x="7082" y="157897"/>
                      <a:pt x="-4361" y="146947"/>
                      <a:pt x="1552" y="115412"/>
                    </a:cubicBezTo>
                    <a:lnTo>
                      <a:pt x="22905" y="0"/>
                    </a:lnTo>
                    <a:lnTo>
                      <a:pt x="51374" y="0"/>
                    </a:lnTo>
                    <a:lnTo>
                      <a:pt x="44804" y="36135"/>
                    </a:lnTo>
                    <a:lnTo>
                      <a:pt x="73219" y="36135"/>
                    </a:lnTo>
                    <a:lnTo>
                      <a:pt x="70317" y="52559"/>
                    </a:lnTo>
                    <a:lnTo>
                      <a:pt x="41738" y="52559"/>
                    </a:lnTo>
                    <a:lnTo>
                      <a:pt x="30788" y="111743"/>
                    </a:lnTo>
                    <a:cubicBezTo>
                      <a:pt x="24547" y="145907"/>
                      <a:pt x="41355" y="142841"/>
                      <a:pt x="55042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="" xmlns:a16="http://schemas.microsoft.com/office/drawing/2014/main" id="{B95DB522-B5A6-4A7D-A85D-0A257D85E62B}"/>
                  </a:ext>
                </a:extLst>
              </p:cNvPr>
              <p:cNvSpPr/>
              <p:nvPr/>
            </p:nvSpPr>
            <p:spPr>
              <a:xfrm>
                <a:off x="6712071" y="3569471"/>
                <a:ext cx="50533" cy="118860"/>
              </a:xfrm>
              <a:custGeom>
                <a:avLst/>
                <a:gdLst>
                  <a:gd name="connsiteX0" fmla="*/ 50534 w 50533"/>
                  <a:gd name="connsiteY0" fmla="*/ 0 h 118860"/>
                  <a:gd name="connsiteX1" fmla="*/ 28524 w 50533"/>
                  <a:gd name="connsiteY1" fmla="*/ 118861 h 118860"/>
                  <a:gd name="connsiteX2" fmla="*/ 0 w 50533"/>
                  <a:gd name="connsiteY2" fmla="*/ 118861 h 118860"/>
                  <a:gd name="connsiteX3" fmla="*/ 22228 w 50533"/>
                  <a:gd name="connsiteY3" fmla="*/ 0 h 118860"/>
                  <a:gd name="connsiteX4" fmla="*/ 50534 w 5053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33" h="118860">
                    <a:moveTo>
                      <a:pt x="50534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228" y="0"/>
                    </a:lnTo>
                    <a:lnTo>
                      <a:pt x="50534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="" xmlns:a16="http://schemas.microsoft.com/office/drawing/2014/main" id="{AD334128-27CC-49C9-85C3-5DB93770D1D0}"/>
                  </a:ext>
                </a:extLst>
              </p:cNvPr>
              <p:cNvSpPr/>
              <p:nvPr/>
            </p:nvSpPr>
            <p:spPr>
              <a:xfrm>
                <a:off x="6739765" y="3521291"/>
                <a:ext cx="29254" cy="31042"/>
              </a:xfrm>
              <a:custGeom>
                <a:avLst/>
                <a:gdLst>
                  <a:gd name="connsiteX0" fmla="*/ 14627 w 29254"/>
                  <a:gd name="connsiteY0" fmla="*/ 0 h 31042"/>
                  <a:gd name="connsiteX1" fmla="*/ 28 w 29254"/>
                  <a:gd name="connsiteY1" fmla="*/ 16444 h 31042"/>
                  <a:gd name="connsiteX2" fmla="*/ 14627 w 29254"/>
                  <a:gd name="connsiteY2" fmla="*/ 31043 h 31042"/>
                  <a:gd name="connsiteX3" fmla="*/ 29226 w 29254"/>
                  <a:gd name="connsiteY3" fmla="*/ 14599 h 31042"/>
                  <a:gd name="connsiteX4" fmla="*/ 14627 w 29254"/>
                  <a:gd name="connsiteY4" fmla="*/ 0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4" h="31042">
                    <a:moveTo>
                      <a:pt x="14627" y="0"/>
                    </a:moveTo>
                    <a:cubicBezTo>
                      <a:pt x="6055" y="509"/>
                      <a:pt x="-481" y="7871"/>
                      <a:pt x="28" y="16444"/>
                    </a:cubicBezTo>
                    <a:cubicBezTo>
                      <a:pt x="495" y="24305"/>
                      <a:pt x="6766" y="30576"/>
                      <a:pt x="14627" y="31043"/>
                    </a:cubicBezTo>
                    <a:cubicBezTo>
                      <a:pt x="23199" y="30534"/>
                      <a:pt x="29736" y="23171"/>
                      <a:pt x="29226" y="14599"/>
                    </a:cubicBezTo>
                    <a:cubicBezTo>
                      <a:pt x="28759" y="6738"/>
                      <a:pt x="22488" y="467"/>
                      <a:pt x="14627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="" xmlns:a16="http://schemas.microsoft.com/office/drawing/2014/main" id="{001EF51E-4933-4AC5-9583-82375E333052}"/>
                  </a:ext>
                </a:extLst>
              </p:cNvPr>
              <p:cNvSpPr/>
              <p:nvPr/>
            </p:nvSpPr>
            <p:spPr>
              <a:xfrm>
                <a:off x="6847795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524 w 50643"/>
                  <a:gd name="connsiteY1" fmla="*/ 118861 h 118860"/>
                  <a:gd name="connsiteX2" fmla="*/ 0 w 50643"/>
                  <a:gd name="connsiteY2" fmla="*/ 118861 h 118860"/>
                  <a:gd name="connsiteX3" fmla="*/ 2211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11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="" xmlns:a16="http://schemas.microsoft.com/office/drawing/2014/main" id="{8618FA45-5D92-4725-93F8-C47C8E9FDBA7}"/>
                  </a:ext>
                </a:extLst>
              </p:cNvPr>
              <p:cNvSpPr/>
              <p:nvPr/>
            </p:nvSpPr>
            <p:spPr>
              <a:xfrm>
                <a:off x="6874622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8 w 31097"/>
                  <a:gd name="connsiteY4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28" y="7084"/>
                      <a:pt x="24233" y="91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="" xmlns:a16="http://schemas.microsoft.com/office/drawing/2014/main" id="{E94D031C-CB72-4958-B0A5-F23DEEB7AC04}"/>
                  </a:ext>
                </a:extLst>
              </p:cNvPr>
              <p:cNvSpPr/>
              <p:nvPr/>
            </p:nvSpPr>
            <p:spPr>
              <a:xfrm>
                <a:off x="6991566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415 w 50643"/>
                  <a:gd name="connsiteY1" fmla="*/ 118861 h 118860"/>
                  <a:gd name="connsiteX2" fmla="*/ 0 w 50643"/>
                  <a:gd name="connsiteY2" fmla="*/ 118861 h 118860"/>
                  <a:gd name="connsiteX3" fmla="*/ 2200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415" y="118861"/>
                    </a:lnTo>
                    <a:lnTo>
                      <a:pt x="0" y="118861"/>
                    </a:lnTo>
                    <a:lnTo>
                      <a:pt x="2200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="" xmlns:a16="http://schemas.microsoft.com/office/drawing/2014/main" id="{5D5E08ED-E823-4BCB-9F45-D1C4E50E8973}"/>
                  </a:ext>
                </a:extLst>
              </p:cNvPr>
              <p:cNvSpPr/>
              <p:nvPr/>
            </p:nvSpPr>
            <p:spPr>
              <a:xfrm>
                <a:off x="7018339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9 w 31097"/>
                  <a:gd name="connsiteY4" fmla="*/ 0 h 31097"/>
                  <a:gd name="connsiteX5" fmla="*/ 15658 w 31097"/>
                  <a:gd name="connsiteY5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58" y="7072"/>
                      <a:pt x="24246" y="61"/>
                      <a:pt x="15659" y="0"/>
                    </a:cubicBezTo>
                    <a:cubicBezTo>
                      <a:pt x="15659" y="0"/>
                      <a:pt x="15658" y="0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="" xmlns:a16="http://schemas.microsoft.com/office/drawing/2014/main" id="{6088BAC0-429A-42E8-982B-E75DDE2BEA8B}"/>
                  </a:ext>
                </a:extLst>
              </p:cNvPr>
              <p:cNvSpPr/>
              <p:nvPr/>
            </p:nvSpPr>
            <p:spPr>
              <a:xfrm>
                <a:off x="7160140" y="3566391"/>
                <a:ext cx="96139" cy="124678"/>
              </a:xfrm>
              <a:custGeom>
                <a:avLst/>
                <a:gdLst>
                  <a:gd name="connsiteX0" fmla="*/ 96030 w 96139"/>
                  <a:gd name="connsiteY0" fmla="*/ 13592 h 124678"/>
                  <a:gd name="connsiteX1" fmla="*/ 90939 w 96139"/>
                  <a:gd name="connsiteY1" fmla="*/ 24542 h 124678"/>
                  <a:gd name="connsiteX2" fmla="*/ 90939 w 96139"/>
                  <a:gd name="connsiteY2" fmla="*/ 24542 h 124678"/>
                  <a:gd name="connsiteX3" fmla="*/ 48070 w 96139"/>
                  <a:gd name="connsiteY3" fmla="*/ 30017 h 124678"/>
                  <a:gd name="connsiteX4" fmla="*/ 89187 w 96139"/>
                  <a:gd name="connsiteY4" fmla="*/ 87558 h 124678"/>
                  <a:gd name="connsiteX5" fmla="*/ 41062 w 96139"/>
                  <a:gd name="connsiteY5" fmla="*/ 124678 h 124678"/>
                  <a:gd name="connsiteX6" fmla="*/ 0 w 96139"/>
                  <a:gd name="connsiteY6" fmla="*/ 108254 h 124678"/>
                  <a:gd name="connsiteX7" fmla="*/ 4927 w 96139"/>
                  <a:gd name="connsiteY7" fmla="*/ 97304 h 124678"/>
                  <a:gd name="connsiteX8" fmla="*/ 55899 w 96139"/>
                  <a:gd name="connsiteY8" fmla="*/ 91829 h 124678"/>
                  <a:gd name="connsiteX9" fmla="*/ 14782 w 96139"/>
                  <a:gd name="connsiteY9" fmla="*/ 38339 h 124678"/>
                  <a:gd name="connsiteX10" fmla="*/ 55461 w 96139"/>
                  <a:gd name="connsiteY10" fmla="*/ 14 h 124678"/>
                  <a:gd name="connsiteX11" fmla="*/ 96140 w 96139"/>
                  <a:gd name="connsiteY11" fmla="*/ 13592 h 12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39" h="124678">
                    <a:moveTo>
                      <a:pt x="96030" y="13592"/>
                    </a:moveTo>
                    <a:lnTo>
                      <a:pt x="90939" y="24542"/>
                    </a:lnTo>
                    <a:lnTo>
                      <a:pt x="90939" y="24542"/>
                    </a:lnTo>
                    <a:cubicBezTo>
                      <a:pt x="61648" y="7350"/>
                      <a:pt x="48070" y="19833"/>
                      <a:pt x="48070" y="30017"/>
                    </a:cubicBezTo>
                    <a:cubicBezTo>
                      <a:pt x="48070" y="50986"/>
                      <a:pt x="89187" y="54106"/>
                      <a:pt x="89187" y="87558"/>
                    </a:cubicBezTo>
                    <a:cubicBezTo>
                      <a:pt x="89187" y="104312"/>
                      <a:pt x="75226" y="124678"/>
                      <a:pt x="41062" y="124678"/>
                    </a:cubicBezTo>
                    <a:cubicBezTo>
                      <a:pt x="25939" y="123878"/>
                      <a:pt x="11503" y="118104"/>
                      <a:pt x="0" y="108254"/>
                    </a:cubicBezTo>
                    <a:lnTo>
                      <a:pt x="4927" y="97304"/>
                    </a:lnTo>
                    <a:cubicBezTo>
                      <a:pt x="27922" y="114112"/>
                      <a:pt x="55899" y="107487"/>
                      <a:pt x="55899" y="91829"/>
                    </a:cubicBezTo>
                    <a:cubicBezTo>
                      <a:pt x="55899" y="71900"/>
                      <a:pt x="14782" y="64837"/>
                      <a:pt x="14782" y="38339"/>
                    </a:cubicBezTo>
                    <a:cubicBezTo>
                      <a:pt x="14782" y="10964"/>
                      <a:pt x="42157" y="14"/>
                      <a:pt x="55461" y="14"/>
                    </a:cubicBezTo>
                    <a:cubicBezTo>
                      <a:pt x="70182" y="-295"/>
                      <a:pt x="84556" y="4503"/>
                      <a:pt x="96140" y="1359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="" xmlns:a16="http://schemas.microsoft.com/office/drawing/2014/main" id="{BD557A81-967E-4C09-83DA-D8EC2CF35B6E}"/>
                  </a:ext>
                </a:extLst>
              </p:cNvPr>
              <p:cNvSpPr/>
              <p:nvPr/>
            </p:nvSpPr>
            <p:spPr>
              <a:xfrm>
                <a:off x="6476103" y="3533336"/>
                <a:ext cx="149518" cy="157897"/>
              </a:xfrm>
              <a:custGeom>
                <a:avLst/>
                <a:gdLst>
                  <a:gd name="connsiteX0" fmla="*/ 113494 w 149518"/>
                  <a:gd name="connsiteY0" fmla="*/ 0 h 157897"/>
                  <a:gd name="connsiteX1" fmla="*/ 97069 w 149518"/>
                  <a:gd name="connsiteY1" fmla="*/ 90117 h 157897"/>
                  <a:gd name="connsiteX2" fmla="*/ 59292 w 149518"/>
                  <a:gd name="connsiteY2" fmla="*/ 133096 h 157897"/>
                  <a:gd name="connsiteX3" fmla="*/ 36243 w 149518"/>
                  <a:gd name="connsiteY3" fmla="*/ 90008 h 157897"/>
                  <a:gd name="connsiteX4" fmla="*/ 52667 w 149518"/>
                  <a:gd name="connsiteY4" fmla="*/ 0 h 157897"/>
                  <a:gd name="connsiteX5" fmla="*/ 16423 w 149518"/>
                  <a:gd name="connsiteY5" fmla="*/ 0 h 157897"/>
                  <a:gd name="connsiteX6" fmla="*/ 2736 w 149518"/>
                  <a:gd name="connsiteY6" fmla="*/ 73857 h 157897"/>
                  <a:gd name="connsiteX7" fmla="*/ 53653 w 149518"/>
                  <a:gd name="connsiteY7" fmla="*/ 157897 h 157897"/>
                  <a:gd name="connsiteX8" fmla="*/ 135777 w 149518"/>
                  <a:gd name="connsiteY8" fmla="*/ 74076 h 157897"/>
                  <a:gd name="connsiteX9" fmla="*/ 149519 w 149518"/>
                  <a:gd name="connsiteY9" fmla="*/ 0 h 157897"/>
                  <a:gd name="connsiteX10" fmla="*/ 113384 w 149518"/>
                  <a:gd name="connsiteY10" fmla="*/ 0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518" h="157897">
                    <a:moveTo>
                      <a:pt x="113494" y="0"/>
                    </a:moveTo>
                    <a:lnTo>
                      <a:pt x="97069" y="90117"/>
                    </a:lnTo>
                    <a:cubicBezTo>
                      <a:pt x="91594" y="117492"/>
                      <a:pt x="79604" y="133096"/>
                      <a:pt x="59292" y="133096"/>
                    </a:cubicBezTo>
                    <a:cubicBezTo>
                      <a:pt x="37721" y="133096"/>
                      <a:pt x="31917" y="112127"/>
                      <a:pt x="36243" y="90008"/>
                    </a:cubicBezTo>
                    <a:lnTo>
                      <a:pt x="52667" y="0"/>
                    </a:lnTo>
                    <a:lnTo>
                      <a:pt x="16423" y="0"/>
                    </a:lnTo>
                    <a:lnTo>
                      <a:pt x="2736" y="73857"/>
                    </a:lnTo>
                    <a:cubicBezTo>
                      <a:pt x="-6079" y="120777"/>
                      <a:pt x="5254" y="157897"/>
                      <a:pt x="53653" y="157897"/>
                    </a:cubicBezTo>
                    <a:cubicBezTo>
                      <a:pt x="102051" y="157897"/>
                      <a:pt x="125210" y="132767"/>
                      <a:pt x="135777" y="74076"/>
                    </a:cubicBezTo>
                    <a:lnTo>
                      <a:pt x="149519" y="0"/>
                    </a:lnTo>
                    <a:lnTo>
                      <a:pt x="113384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="" xmlns:a16="http://schemas.microsoft.com/office/drawing/2014/main" id="{9E069ABC-3837-4A6A-BCF6-AED030122123}"/>
                  </a:ext>
                </a:extLst>
              </p:cNvPr>
              <p:cNvSpPr/>
              <p:nvPr/>
            </p:nvSpPr>
            <p:spPr>
              <a:xfrm>
                <a:off x="6782764" y="3533336"/>
                <a:ext cx="52273" cy="157897"/>
              </a:xfrm>
              <a:custGeom>
                <a:avLst/>
                <a:gdLst>
                  <a:gd name="connsiteX0" fmla="*/ 47401 w 52273"/>
                  <a:gd name="connsiteY0" fmla="*/ 140104 h 157897"/>
                  <a:gd name="connsiteX1" fmla="*/ 30976 w 52273"/>
                  <a:gd name="connsiteY1" fmla="*/ 111524 h 157897"/>
                  <a:gd name="connsiteX2" fmla="*/ 51672 w 52273"/>
                  <a:gd name="connsiteY2" fmla="*/ 0 h 157897"/>
                  <a:gd name="connsiteX3" fmla="*/ 23202 w 52273"/>
                  <a:gd name="connsiteY3" fmla="*/ 0 h 157897"/>
                  <a:gd name="connsiteX4" fmla="*/ 1576 w 52273"/>
                  <a:gd name="connsiteY4" fmla="*/ 115357 h 157897"/>
                  <a:gd name="connsiteX5" fmla="*/ 28075 w 52273"/>
                  <a:gd name="connsiteY5" fmla="*/ 157897 h 157897"/>
                  <a:gd name="connsiteX6" fmla="*/ 52274 w 52273"/>
                  <a:gd name="connsiteY6" fmla="*/ 151053 h 157897"/>
                  <a:gd name="connsiteX7" fmla="*/ 47401 w 52273"/>
                  <a:gd name="connsiteY7" fmla="*/ 140104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273" h="157897">
                    <a:moveTo>
                      <a:pt x="47401" y="140104"/>
                    </a:moveTo>
                    <a:cubicBezTo>
                      <a:pt x="35959" y="143279"/>
                      <a:pt x="24461" y="141253"/>
                      <a:pt x="30976" y="111524"/>
                    </a:cubicBezTo>
                    <a:lnTo>
                      <a:pt x="51672" y="0"/>
                    </a:lnTo>
                    <a:lnTo>
                      <a:pt x="23202" y="0"/>
                    </a:lnTo>
                    <a:lnTo>
                      <a:pt x="1576" y="115357"/>
                    </a:lnTo>
                    <a:cubicBezTo>
                      <a:pt x="-4392" y="147221"/>
                      <a:pt x="7051" y="157897"/>
                      <a:pt x="28075" y="157897"/>
                    </a:cubicBezTo>
                    <a:cubicBezTo>
                      <a:pt x="36570" y="157567"/>
                      <a:pt x="44864" y="155222"/>
                      <a:pt x="52274" y="151053"/>
                    </a:cubicBezTo>
                    <a:lnTo>
                      <a:pt x="47401" y="140104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pic>
          <p:nvPicPr>
            <p:cNvPr id="61" name="Graphic 60">
              <a:extLst>
                <a:ext uri="{FF2B5EF4-FFF2-40B4-BE49-F238E27FC236}">
                  <a16:creationId xmlns="" xmlns:a16="http://schemas.microsoft.com/office/drawing/2014/main" id="{684E6A1E-ABB3-4B89-BD68-8C651D4E14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096123" y="3236497"/>
              <a:ext cx="1059319" cy="5668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9496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Right 2">
            <a:extLst>
              <a:ext uri="{FF2B5EF4-FFF2-40B4-BE49-F238E27FC236}">
                <a16:creationId xmlns:a16="http://schemas.microsoft.com/office/drawing/2014/main" xmlns="" id="{15C31E0B-0D30-4AEF-88C6-8A58C64DBBB5}"/>
              </a:ext>
            </a:extLst>
          </p:cNvPr>
          <p:cNvSpPr/>
          <p:nvPr userDrawn="1"/>
        </p:nvSpPr>
        <p:spPr>
          <a:xfrm>
            <a:off x="0" y="1700664"/>
            <a:ext cx="6990080" cy="3454400"/>
          </a:xfrm>
          <a:prstGeom prst="rightArrow">
            <a:avLst>
              <a:gd name="adj1" fmla="val 100000"/>
              <a:gd name="adj2" fmla="val 244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2288638"/>
            <a:ext cx="4653279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xmlns="" id="{DB0742B1-A627-4893-87C2-492C2B66B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3026761"/>
            <a:ext cx="4653279" cy="14983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xmlns="" id="{7052DD47-3E35-466F-8244-456324C76784}"/>
              </a:ext>
            </a:extLst>
          </p:cNvPr>
          <p:cNvGrpSpPr/>
          <p:nvPr userDrawn="1"/>
        </p:nvGrpSpPr>
        <p:grpSpPr>
          <a:xfrm>
            <a:off x="5831147" y="2600069"/>
            <a:ext cx="5726097" cy="1645430"/>
            <a:chOff x="5831147" y="2697725"/>
            <a:chExt cx="5726097" cy="1645430"/>
          </a:xfrm>
        </p:grpSpPr>
        <p:sp>
          <p:nvSpPr>
            <p:cNvPr id="7" name="Hexagon 6">
              <a:extLst>
                <a:ext uri="{FF2B5EF4-FFF2-40B4-BE49-F238E27FC236}">
                  <a16:creationId xmlns:a16="http://schemas.microsoft.com/office/drawing/2014/main" xmlns="" id="{FFB54227-E35B-4813-8FA2-DC0687184A26}"/>
                </a:ext>
              </a:extLst>
            </p:cNvPr>
            <p:cNvSpPr/>
            <p:nvPr userDrawn="1"/>
          </p:nvSpPr>
          <p:spPr>
            <a:xfrm>
              <a:off x="5831147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Hexagon 7">
              <a:extLst>
                <a:ext uri="{FF2B5EF4-FFF2-40B4-BE49-F238E27FC236}">
                  <a16:creationId xmlns:a16="http://schemas.microsoft.com/office/drawing/2014/main" xmlns="" id="{2A0CA8AB-1671-4DD1-9154-EA62B162A465}"/>
                </a:ext>
              </a:extLst>
            </p:cNvPr>
            <p:cNvSpPr/>
            <p:nvPr userDrawn="1"/>
          </p:nvSpPr>
          <p:spPr>
            <a:xfrm>
              <a:off x="7739846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Hexagon 8">
              <a:extLst>
                <a:ext uri="{FF2B5EF4-FFF2-40B4-BE49-F238E27FC236}">
                  <a16:creationId xmlns:a16="http://schemas.microsoft.com/office/drawing/2014/main" xmlns="" id="{639165BE-9D5F-44E5-A10B-41B0463157AC}"/>
                </a:ext>
              </a:extLst>
            </p:cNvPr>
            <p:cNvSpPr/>
            <p:nvPr userDrawn="1"/>
          </p:nvSpPr>
          <p:spPr>
            <a:xfrm>
              <a:off x="9648545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Graphic 11">
              <a:extLst>
                <a:ext uri="{FF2B5EF4-FFF2-40B4-BE49-F238E27FC236}">
                  <a16:creationId xmlns:a16="http://schemas.microsoft.com/office/drawing/2014/main" xmlns="" id="{8FFC019D-A9EA-4514-BC25-9FD22CB1BD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tretch>
              <a:fillRect/>
            </a:stretch>
          </p:blipFill>
          <p:spPr>
            <a:xfrm>
              <a:off x="8436182" y="3153728"/>
              <a:ext cx="513398" cy="733425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xmlns="" id="{A2B20514-706C-4EF1-A68A-B660E9E0AAF9}"/>
                </a:ext>
              </a:extLst>
            </p:cNvPr>
            <p:cNvGrpSpPr/>
            <p:nvPr userDrawn="1"/>
          </p:nvGrpSpPr>
          <p:grpSpPr>
            <a:xfrm>
              <a:off x="6093476" y="3302493"/>
              <a:ext cx="1360628" cy="448434"/>
              <a:chOff x="5851743" y="3236595"/>
              <a:chExt cx="1452551" cy="478730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xmlns="" id="{6056861D-C90B-4ED2-8BB3-FD4DA0D02E4C}"/>
                  </a:ext>
                </a:extLst>
              </p:cNvPr>
              <p:cNvSpPr/>
              <p:nvPr/>
            </p:nvSpPr>
            <p:spPr>
              <a:xfrm>
                <a:off x="6080237" y="3246887"/>
                <a:ext cx="249957" cy="322455"/>
              </a:xfrm>
              <a:custGeom>
                <a:avLst/>
                <a:gdLst>
                  <a:gd name="connsiteX0" fmla="*/ 39994 w 249957"/>
                  <a:gd name="connsiteY0" fmla="*/ 314152 h 322455"/>
                  <a:gd name="connsiteX1" fmla="*/ 249958 w 249957"/>
                  <a:gd name="connsiteY1" fmla="*/ 93731 h 322455"/>
                  <a:gd name="connsiteX2" fmla="*/ 52860 w 249957"/>
                  <a:gd name="connsiteY2" fmla="*/ 0 h 322455"/>
                  <a:gd name="connsiteX3" fmla="*/ 39994 w 249957"/>
                  <a:gd name="connsiteY3" fmla="*/ 314152 h 322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957" h="322455">
                    <a:moveTo>
                      <a:pt x="39994" y="314152"/>
                    </a:moveTo>
                    <a:cubicBezTo>
                      <a:pt x="138981" y="362933"/>
                      <a:pt x="217163" y="184724"/>
                      <a:pt x="249958" y="93731"/>
                    </a:cubicBezTo>
                    <a:cubicBezTo>
                      <a:pt x="199588" y="59732"/>
                      <a:pt x="127921" y="19655"/>
                      <a:pt x="52860" y="0"/>
                    </a:cubicBezTo>
                    <a:cubicBezTo>
                      <a:pt x="30139" y="57761"/>
                      <a:pt x="-46072" y="272050"/>
                      <a:pt x="39994" y="31415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xmlns="" id="{46CF8035-28FD-4E8C-9038-96D988689DCA}"/>
                  </a:ext>
                </a:extLst>
              </p:cNvPr>
              <p:cNvSpPr/>
              <p:nvPr/>
            </p:nvSpPr>
            <p:spPr>
              <a:xfrm>
                <a:off x="5851743" y="3236595"/>
                <a:ext cx="564050" cy="478730"/>
              </a:xfrm>
              <a:custGeom>
                <a:avLst/>
                <a:gdLst>
                  <a:gd name="connsiteX0" fmla="*/ 540756 w 564050"/>
                  <a:gd name="connsiteY0" fmla="*/ 151546 h 478730"/>
                  <a:gd name="connsiteX1" fmla="*/ 499092 w 564050"/>
                  <a:gd name="connsiteY1" fmla="*/ 118423 h 478730"/>
                  <a:gd name="connsiteX2" fmla="*/ 246150 w 564050"/>
                  <a:gd name="connsiteY2" fmla="*/ 402024 h 478730"/>
                  <a:gd name="connsiteX3" fmla="*/ 159591 w 564050"/>
                  <a:gd name="connsiteY3" fmla="*/ 0 h 478730"/>
                  <a:gd name="connsiteX4" fmla="*/ 93892 w 564050"/>
                  <a:gd name="connsiteY4" fmla="*/ 19108 h 478730"/>
                  <a:gd name="connsiteX5" fmla="*/ 229670 w 564050"/>
                  <a:gd name="connsiteY5" fmla="*/ 478619 h 478730"/>
                  <a:gd name="connsiteX6" fmla="*/ 540756 w 564050"/>
                  <a:gd name="connsiteY6" fmla="*/ 151546 h 4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4050" h="478730">
                    <a:moveTo>
                      <a:pt x="540756" y="151546"/>
                    </a:moveTo>
                    <a:cubicBezTo>
                      <a:pt x="527476" y="139762"/>
                      <a:pt x="513568" y="128704"/>
                      <a:pt x="499092" y="118423"/>
                    </a:cubicBezTo>
                    <a:cubicBezTo>
                      <a:pt x="466242" y="232192"/>
                      <a:pt x="390031" y="415000"/>
                      <a:pt x="246150" y="402024"/>
                    </a:cubicBezTo>
                    <a:cubicBezTo>
                      <a:pt x="14779" y="381001"/>
                      <a:pt x="137089" y="55735"/>
                      <a:pt x="159591" y="0"/>
                    </a:cubicBezTo>
                    <a:cubicBezTo>
                      <a:pt x="136808" y="2804"/>
                      <a:pt x="114625" y="9255"/>
                      <a:pt x="93892" y="19108"/>
                    </a:cubicBezTo>
                    <a:cubicBezTo>
                      <a:pt x="-114758" y="118642"/>
                      <a:pt x="66517" y="473034"/>
                      <a:pt x="229670" y="478619"/>
                    </a:cubicBezTo>
                    <a:cubicBezTo>
                      <a:pt x="409358" y="484696"/>
                      <a:pt x="638265" y="240897"/>
                      <a:pt x="540756" y="151546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xmlns="" id="{483D5C08-57B6-419F-8101-DB6C2A790ED8}"/>
                  </a:ext>
                </a:extLst>
              </p:cNvPr>
              <p:cNvSpPr/>
              <p:nvPr/>
            </p:nvSpPr>
            <p:spPr>
              <a:xfrm>
                <a:off x="7000655" y="3307878"/>
                <a:ext cx="133259" cy="158908"/>
              </a:xfrm>
              <a:custGeom>
                <a:avLst/>
                <a:gdLst>
                  <a:gd name="connsiteX0" fmla="*/ 85464 w 133259"/>
                  <a:gd name="connsiteY0" fmla="*/ 23214 h 158908"/>
                  <a:gd name="connsiteX1" fmla="*/ 99552 w 133259"/>
                  <a:gd name="connsiteY1" fmla="*/ 33852 h 158908"/>
                  <a:gd name="connsiteX2" fmla="*/ 99589 w 133259"/>
                  <a:gd name="connsiteY2" fmla="*/ 37011 h 158908"/>
                  <a:gd name="connsiteX3" fmla="*/ 41774 w 133259"/>
                  <a:gd name="connsiteY3" fmla="*/ 77142 h 158908"/>
                  <a:gd name="connsiteX4" fmla="*/ 85573 w 133259"/>
                  <a:gd name="connsiteY4" fmla="*/ 23214 h 158908"/>
                  <a:gd name="connsiteX5" fmla="*/ 133260 w 133259"/>
                  <a:gd name="connsiteY5" fmla="*/ 31645 h 158908"/>
                  <a:gd name="connsiteX6" fmla="*/ 94935 w 133259"/>
                  <a:gd name="connsiteY6" fmla="*/ 0 h 158908"/>
                  <a:gd name="connsiteX7" fmla="*/ 0 w 133259"/>
                  <a:gd name="connsiteY7" fmla="*/ 102984 h 158908"/>
                  <a:gd name="connsiteX8" fmla="*/ 48727 w 133259"/>
                  <a:gd name="connsiteY8" fmla="*/ 158883 h 158908"/>
                  <a:gd name="connsiteX9" fmla="*/ 114043 w 133259"/>
                  <a:gd name="connsiteY9" fmla="*/ 138023 h 158908"/>
                  <a:gd name="connsiteX10" fmla="*/ 107583 w 133259"/>
                  <a:gd name="connsiteY10" fmla="*/ 124391 h 158908"/>
                  <a:gd name="connsiteX11" fmla="*/ 64440 w 133259"/>
                  <a:gd name="connsiteY11" fmla="*/ 133862 h 158908"/>
                  <a:gd name="connsiteX12" fmla="*/ 39420 w 133259"/>
                  <a:gd name="connsiteY12" fmla="*/ 93074 h 158908"/>
                  <a:gd name="connsiteX13" fmla="*/ 133096 w 133259"/>
                  <a:gd name="connsiteY13" fmla="*/ 31645 h 1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259" h="158908">
                    <a:moveTo>
                      <a:pt x="85464" y="23214"/>
                    </a:moveTo>
                    <a:cubicBezTo>
                      <a:pt x="92292" y="22261"/>
                      <a:pt x="98599" y="27024"/>
                      <a:pt x="99552" y="33852"/>
                    </a:cubicBezTo>
                    <a:cubicBezTo>
                      <a:pt x="99698" y="34899"/>
                      <a:pt x="99710" y="35960"/>
                      <a:pt x="99589" y="37011"/>
                    </a:cubicBezTo>
                    <a:cubicBezTo>
                      <a:pt x="99589" y="55844"/>
                      <a:pt x="71886" y="72433"/>
                      <a:pt x="41774" y="77142"/>
                    </a:cubicBezTo>
                    <a:cubicBezTo>
                      <a:pt x="50369" y="44292"/>
                      <a:pt x="65973" y="23214"/>
                      <a:pt x="85573" y="23214"/>
                    </a:cubicBezTo>
                    <a:moveTo>
                      <a:pt x="133260" y="31645"/>
                    </a:moveTo>
                    <a:cubicBezTo>
                      <a:pt x="133260" y="9745"/>
                      <a:pt x="111908" y="0"/>
                      <a:pt x="94935" y="0"/>
                    </a:cubicBezTo>
                    <a:cubicBezTo>
                      <a:pt x="35313" y="0"/>
                      <a:pt x="0" y="60553"/>
                      <a:pt x="0" y="102984"/>
                    </a:cubicBezTo>
                    <a:cubicBezTo>
                      <a:pt x="0" y="139392"/>
                      <a:pt x="20421" y="158883"/>
                      <a:pt x="48727" y="158883"/>
                    </a:cubicBezTo>
                    <a:cubicBezTo>
                      <a:pt x="72215" y="159400"/>
                      <a:pt x="95203" y="152058"/>
                      <a:pt x="114043" y="138023"/>
                    </a:cubicBezTo>
                    <a:lnTo>
                      <a:pt x="107583" y="124391"/>
                    </a:lnTo>
                    <a:cubicBezTo>
                      <a:pt x="94835" y="132696"/>
                      <a:pt x="79495" y="136064"/>
                      <a:pt x="64440" y="133862"/>
                    </a:cubicBezTo>
                    <a:cubicBezTo>
                      <a:pt x="38763" y="127621"/>
                      <a:pt x="38270" y="106487"/>
                      <a:pt x="39420" y="93074"/>
                    </a:cubicBezTo>
                    <a:cubicBezTo>
                      <a:pt x="72871" y="91760"/>
                      <a:pt x="133096" y="75226"/>
                      <a:pt x="133096" y="31645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xmlns="" id="{8934BB35-D11F-482C-91AC-5077CEA2BE4B}"/>
                  </a:ext>
                </a:extLst>
              </p:cNvPr>
              <p:cNvSpPr/>
              <p:nvPr/>
            </p:nvSpPr>
            <p:spPr>
              <a:xfrm>
                <a:off x="6907372" y="3265940"/>
                <a:ext cx="93392" cy="200601"/>
              </a:xfrm>
              <a:custGeom>
                <a:avLst/>
                <a:gdLst>
                  <a:gd name="connsiteX0" fmla="*/ 69959 w 93392"/>
                  <a:gd name="connsiteY0" fmla="*/ 175472 h 200601"/>
                  <a:gd name="connsiteX1" fmla="*/ 76256 w 93392"/>
                  <a:gd name="connsiteY1" fmla="*/ 189652 h 200601"/>
                  <a:gd name="connsiteX2" fmla="*/ 35577 w 93392"/>
                  <a:gd name="connsiteY2" fmla="*/ 200602 h 200601"/>
                  <a:gd name="connsiteX3" fmla="*/ 1961 w 93392"/>
                  <a:gd name="connsiteY3" fmla="*/ 146564 h 200601"/>
                  <a:gd name="connsiteX4" fmla="*/ 29335 w 93392"/>
                  <a:gd name="connsiteY4" fmla="*/ 0 h 200601"/>
                  <a:gd name="connsiteX5" fmla="*/ 65580 w 93392"/>
                  <a:gd name="connsiteY5" fmla="*/ 0 h 200601"/>
                  <a:gd name="connsiteX6" fmla="*/ 57148 w 93392"/>
                  <a:gd name="connsiteY6" fmla="*/ 45278 h 200601"/>
                  <a:gd name="connsiteX7" fmla="*/ 93392 w 93392"/>
                  <a:gd name="connsiteY7" fmla="*/ 45278 h 200601"/>
                  <a:gd name="connsiteX8" fmla="*/ 89779 w 93392"/>
                  <a:gd name="connsiteY8" fmla="*/ 66356 h 200601"/>
                  <a:gd name="connsiteX9" fmla="*/ 53261 w 93392"/>
                  <a:gd name="connsiteY9" fmla="*/ 66356 h 200601"/>
                  <a:gd name="connsiteX10" fmla="*/ 39026 w 93392"/>
                  <a:gd name="connsiteY10" fmla="*/ 141965 h 200601"/>
                  <a:gd name="connsiteX11" fmla="*/ 69959 w 93392"/>
                  <a:gd name="connsiteY11" fmla="*/ 175472 h 200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392" h="200601">
                    <a:moveTo>
                      <a:pt x="69959" y="175472"/>
                    </a:moveTo>
                    <a:lnTo>
                      <a:pt x="76256" y="189652"/>
                    </a:lnTo>
                    <a:cubicBezTo>
                      <a:pt x="63898" y="196822"/>
                      <a:pt x="49864" y="200599"/>
                      <a:pt x="35577" y="200602"/>
                    </a:cubicBezTo>
                    <a:cubicBezTo>
                      <a:pt x="9078" y="200602"/>
                      <a:pt x="-5540" y="187133"/>
                      <a:pt x="1961" y="146564"/>
                    </a:cubicBezTo>
                    <a:lnTo>
                      <a:pt x="29335" y="0"/>
                    </a:lnTo>
                    <a:lnTo>
                      <a:pt x="65580" y="0"/>
                    </a:lnTo>
                    <a:lnTo>
                      <a:pt x="57148" y="45278"/>
                    </a:lnTo>
                    <a:lnTo>
                      <a:pt x="93392" y="45278"/>
                    </a:lnTo>
                    <a:lnTo>
                      <a:pt x="89779" y="66356"/>
                    </a:lnTo>
                    <a:lnTo>
                      <a:pt x="53261" y="66356"/>
                    </a:lnTo>
                    <a:lnTo>
                      <a:pt x="39026" y="141965"/>
                    </a:lnTo>
                    <a:cubicBezTo>
                      <a:pt x="30923" y="185217"/>
                      <a:pt x="52604" y="181658"/>
                      <a:pt x="69959" y="17547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xmlns="" id="{8FABBC5F-2082-412F-9EAB-2E21A310917A}"/>
                  </a:ext>
                </a:extLst>
              </p:cNvPr>
              <p:cNvSpPr/>
              <p:nvPr/>
            </p:nvSpPr>
            <p:spPr>
              <a:xfrm>
                <a:off x="7142565" y="3266159"/>
                <a:ext cx="161729" cy="200492"/>
              </a:xfrm>
              <a:custGeom>
                <a:avLst/>
                <a:gdLst>
                  <a:gd name="connsiteX0" fmla="*/ 84588 w 161729"/>
                  <a:gd name="connsiteY0" fmla="*/ 63509 h 200492"/>
                  <a:gd name="connsiteX1" fmla="*/ 110977 w 161729"/>
                  <a:gd name="connsiteY1" fmla="*/ 77744 h 200492"/>
                  <a:gd name="connsiteX2" fmla="*/ 56939 w 161729"/>
                  <a:gd name="connsiteY2" fmla="*/ 180290 h 200492"/>
                  <a:gd name="connsiteX3" fmla="*/ 36354 w 161729"/>
                  <a:gd name="connsiteY3" fmla="*/ 144429 h 200492"/>
                  <a:gd name="connsiteX4" fmla="*/ 84588 w 161729"/>
                  <a:gd name="connsiteY4" fmla="*/ 63345 h 200492"/>
                  <a:gd name="connsiteX5" fmla="*/ 161730 w 161729"/>
                  <a:gd name="connsiteY5" fmla="*/ 0 h 200492"/>
                  <a:gd name="connsiteX6" fmla="*/ 125431 w 161729"/>
                  <a:gd name="connsiteY6" fmla="*/ 0 h 200492"/>
                  <a:gd name="connsiteX7" fmla="*/ 115247 w 161729"/>
                  <a:gd name="connsiteY7" fmla="*/ 55735 h 200492"/>
                  <a:gd name="connsiteX8" fmla="*/ 80536 w 161729"/>
                  <a:gd name="connsiteY8" fmla="*/ 41610 h 200492"/>
                  <a:gd name="connsiteX9" fmla="*/ 0 w 161729"/>
                  <a:gd name="connsiteY9" fmla="*/ 144155 h 200492"/>
                  <a:gd name="connsiteX10" fmla="*/ 52121 w 161729"/>
                  <a:gd name="connsiteY10" fmla="*/ 200492 h 200492"/>
                  <a:gd name="connsiteX11" fmla="*/ 142786 w 161729"/>
                  <a:gd name="connsiteY11" fmla="*/ 101943 h 20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1729" h="200492">
                    <a:moveTo>
                      <a:pt x="84588" y="63509"/>
                    </a:moveTo>
                    <a:cubicBezTo>
                      <a:pt x="95414" y="62673"/>
                      <a:pt x="105730" y="68238"/>
                      <a:pt x="110977" y="77744"/>
                    </a:cubicBezTo>
                    <a:cubicBezTo>
                      <a:pt x="96030" y="158828"/>
                      <a:pt x="78127" y="180290"/>
                      <a:pt x="56939" y="180290"/>
                    </a:cubicBezTo>
                    <a:cubicBezTo>
                      <a:pt x="43745" y="180290"/>
                      <a:pt x="36354" y="166164"/>
                      <a:pt x="36354" y="144429"/>
                    </a:cubicBezTo>
                    <a:cubicBezTo>
                      <a:pt x="36354" y="102984"/>
                      <a:pt x="62579" y="63345"/>
                      <a:pt x="84588" y="63345"/>
                    </a:cubicBezTo>
                    <a:moveTo>
                      <a:pt x="161730" y="0"/>
                    </a:moveTo>
                    <a:lnTo>
                      <a:pt x="125431" y="0"/>
                    </a:lnTo>
                    <a:lnTo>
                      <a:pt x="115247" y="55735"/>
                    </a:lnTo>
                    <a:cubicBezTo>
                      <a:pt x="106156" y="46387"/>
                      <a:pt x="93571" y="41266"/>
                      <a:pt x="80536" y="41610"/>
                    </a:cubicBezTo>
                    <a:cubicBezTo>
                      <a:pt x="33288" y="41610"/>
                      <a:pt x="0" y="93731"/>
                      <a:pt x="0" y="144155"/>
                    </a:cubicBezTo>
                    <a:cubicBezTo>
                      <a:pt x="0" y="174158"/>
                      <a:pt x="21079" y="200492"/>
                      <a:pt x="52121" y="200492"/>
                    </a:cubicBezTo>
                    <a:cubicBezTo>
                      <a:pt x="118587" y="200492"/>
                      <a:pt x="134629" y="146455"/>
                      <a:pt x="142786" y="1019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xmlns="" id="{B7312AE0-F451-480B-AA2D-080FA8EE4AC7}"/>
                  </a:ext>
                </a:extLst>
              </p:cNvPr>
              <p:cNvSpPr/>
              <p:nvPr/>
            </p:nvSpPr>
            <p:spPr>
              <a:xfrm>
                <a:off x="6822555" y="3311492"/>
                <a:ext cx="64330" cy="151819"/>
              </a:xfrm>
              <a:custGeom>
                <a:avLst/>
                <a:gdLst>
                  <a:gd name="connsiteX0" fmla="*/ 64330 w 64330"/>
                  <a:gd name="connsiteY0" fmla="*/ 0 h 151819"/>
                  <a:gd name="connsiteX1" fmla="*/ 36244 w 64330"/>
                  <a:gd name="connsiteY1" fmla="*/ 151820 h 151819"/>
                  <a:gd name="connsiteX2" fmla="*/ 0 w 64330"/>
                  <a:gd name="connsiteY2" fmla="*/ 151820 h 151819"/>
                  <a:gd name="connsiteX3" fmla="*/ 28086 w 64330"/>
                  <a:gd name="connsiteY3" fmla="*/ 0 h 151819"/>
                  <a:gd name="connsiteX4" fmla="*/ 64330 w 64330"/>
                  <a:gd name="connsiteY4" fmla="*/ 0 h 15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30" h="151819">
                    <a:moveTo>
                      <a:pt x="64330" y="0"/>
                    </a:moveTo>
                    <a:lnTo>
                      <a:pt x="36244" y="151820"/>
                    </a:lnTo>
                    <a:lnTo>
                      <a:pt x="0" y="151820"/>
                    </a:lnTo>
                    <a:lnTo>
                      <a:pt x="28086" y="0"/>
                    </a:lnTo>
                    <a:lnTo>
                      <a:pt x="64330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xmlns="" id="{5204D0ED-84EC-4DA1-94D9-3487AFB64059}"/>
                  </a:ext>
                </a:extLst>
              </p:cNvPr>
              <p:cNvSpPr/>
              <p:nvPr/>
            </p:nvSpPr>
            <p:spPr>
              <a:xfrm>
                <a:off x="6856774" y="3250556"/>
                <a:ext cx="39528" cy="39529"/>
              </a:xfrm>
              <a:custGeom>
                <a:avLst/>
                <a:gdLst>
                  <a:gd name="connsiteX0" fmla="*/ 19764 w 39528"/>
                  <a:gd name="connsiteY0" fmla="*/ 0 h 39529"/>
                  <a:gd name="connsiteX1" fmla="*/ 0 w 39528"/>
                  <a:gd name="connsiteY1" fmla="*/ 19765 h 39529"/>
                  <a:gd name="connsiteX2" fmla="*/ 19765 w 39528"/>
                  <a:gd name="connsiteY2" fmla="*/ 39529 h 39529"/>
                  <a:gd name="connsiteX3" fmla="*/ 39529 w 39528"/>
                  <a:gd name="connsiteY3" fmla="*/ 19874 h 39529"/>
                  <a:gd name="connsiteX4" fmla="*/ 19764 w 39528"/>
                  <a:gd name="connsiteY4" fmla="*/ 0 h 3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" h="39529">
                    <a:moveTo>
                      <a:pt x="19764" y="0"/>
                    </a:moveTo>
                    <a:cubicBezTo>
                      <a:pt x="8849" y="0"/>
                      <a:pt x="0" y="8849"/>
                      <a:pt x="0" y="19765"/>
                    </a:cubicBezTo>
                    <a:cubicBezTo>
                      <a:pt x="0" y="30680"/>
                      <a:pt x="8849" y="39529"/>
                      <a:pt x="19765" y="39529"/>
                    </a:cubicBezTo>
                    <a:cubicBezTo>
                      <a:pt x="30638" y="39529"/>
                      <a:pt x="39469" y="30747"/>
                      <a:pt x="39529" y="19874"/>
                    </a:cubicBezTo>
                    <a:cubicBezTo>
                      <a:pt x="39559" y="8928"/>
                      <a:pt x="30710" y="30"/>
                      <a:pt x="19764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xmlns="" id="{26BEAC28-0FB1-4290-9B53-BA025410CB3B}"/>
                  </a:ext>
                </a:extLst>
              </p:cNvPr>
              <p:cNvSpPr/>
              <p:nvPr/>
            </p:nvSpPr>
            <p:spPr>
              <a:xfrm>
                <a:off x="6652996" y="3307550"/>
                <a:ext cx="149190" cy="155488"/>
              </a:xfrm>
              <a:custGeom>
                <a:avLst/>
                <a:gdLst>
                  <a:gd name="connsiteX0" fmla="*/ 95428 w 149190"/>
                  <a:gd name="connsiteY0" fmla="*/ 219 h 155488"/>
                  <a:gd name="connsiteX1" fmla="*/ 13304 w 149190"/>
                  <a:gd name="connsiteY1" fmla="*/ 84205 h 155488"/>
                  <a:gd name="connsiteX2" fmla="*/ 0 w 149190"/>
                  <a:gd name="connsiteY2" fmla="*/ 155379 h 155488"/>
                  <a:gd name="connsiteX3" fmla="*/ 36299 w 149190"/>
                  <a:gd name="connsiteY3" fmla="*/ 155379 h 155488"/>
                  <a:gd name="connsiteX4" fmla="*/ 52286 w 149190"/>
                  <a:gd name="connsiteY4" fmla="*/ 67780 h 155488"/>
                  <a:gd name="connsiteX5" fmla="*/ 90063 w 149190"/>
                  <a:gd name="connsiteY5" fmla="*/ 24856 h 155488"/>
                  <a:gd name="connsiteX6" fmla="*/ 113167 w 149190"/>
                  <a:gd name="connsiteY6" fmla="*/ 67889 h 155488"/>
                  <a:gd name="connsiteX7" fmla="*/ 97125 w 149190"/>
                  <a:gd name="connsiteY7" fmla="*/ 155488 h 155488"/>
                  <a:gd name="connsiteX8" fmla="*/ 133260 w 149190"/>
                  <a:gd name="connsiteY8" fmla="*/ 155488 h 155488"/>
                  <a:gd name="connsiteX9" fmla="*/ 146455 w 149190"/>
                  <a:gd name="connsiteY9" fmla="*/ 84314 h 155488"/>
                  <a:gd name="connsiteX10" fmla="*/ 95592 w 149190"/>
                  <a:gd name="connsiteY10" fmla="*/ 0 h 15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190" h="155488">
                    <a:moveTo>
                      <a:pt x="95428" y="219"/>
                    </a:moveTo>
                    <a:cubicBezTo>
                      <a:pt x="47030" y="219"/>
                      <a:pt x="24254" y="25404"/>
                      <a:pt x="13304" y="84205"/>
                    </a:cubicBezTo>
                    <a:lnTo>
                      <a:pt x="0" y="155379"/>
                    </a:lnTo>
                    <a:lnTo>
                      <a:pt x="36299" y="155379"/>
                    </a:lnTo>
                    <a:lnTo>
                      <a:pt x="52286" y="67780"/>
                    </a:lnTo>
                    <a:cubicBezTo>
                      <a:pt x="57761" y="40405"/>
                      <a:pt x="69477" y="24856"/>
                      <a:pt x="90063" y="24856"/>
                    </a:cubicBezTo>
                    <a:cubicBezTo>
                      <a:pt x="111962" y="24856"/>
                      <a:pt x="117437" y="45770"/>
                      <a:pt x="113167" y="67889"/>
                    </a:cubicBezTo>
                    <a:lnTo>
                      <a:pt x="97125" y="155488"/>
                    </a:lnTo>
                    <a:lnTo>
                      <a:pt x="133260" y="155488"/>
                    </a:lnTo>
                    <a:lnTo>
                      <a:pt x="146455" y="84314"/>
                    </a:lnTo>
                    <a:cubicBezTo>
                      <a:pt x="155269" y="37120"/>
                      <a:pt x="143936" y="0"/>
                      <a:pt x="95592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xmlns="" id="{2C30E0F2-40AA-4F40-85B6-C84D5A5B1E13}"/>
                  </a:ext>
                </a:extLst>
              </p:cNvPr>
              <p:cNvSpPr/>
              <p:nvPr/>
            </p:nvSpPr>
            <p:spPr>
              <a:xfrm>
                <a:off x="6476996" y="3266159"/>
                <a:ext cx="182460" cy="200382"/>
              </a:xfrm>
              <a:custGeom>
                <a:avLst/>
                <a:gdLst>
                  <a:gd name="connsiteX0" fmla="*/ 138935 w 182460"/>
                  <a:gd name="connsiteY0" fmla="*/ 0 h 200382"/>
                  <a:gd name="connsiteX1" fmla="*/ 117035 w 182460"/>
                  <a:gd name="connsiteY1" fmla="*/ 118642 h 200382"/>
                  <a:gd name="connsiteX2" fmla="*/ 71648 w 182460"/>
                  <a:gd name="connsiteY2" fmla="*/ 170599 h 200382"/>
                  <a:gd name="connsiteX3" fmla="*/ 43452 w 182460"/>
                  <a:gd name="connsiteY3" fmla="*/ 118259 h 200382"/>
                  <a:gd name="connsiteX4" fmla="*/ 65351 w 182460"/>
                  <a:gd name="connsiteY4" fmla="*/ 0 h 200382"/>
                  <a:gd name="connsiteX5" fmla="*/ 21552 w 182460"/>
                  <a:gd name="connsiteY5" fmla="*/ 0 h 200382"/>
                  <a:gd name="connsiteX6" fmla="*/ 3101 w 182460"/>
                  <a:gd name="connsiteY6" fmla="*/ 98549 h 200382"/>
                  <a:gd name="connsiteX7" fmla="*/ 64804 w 182460"/>
                  <a:gd name="connsiteY7" fmla="*/ 200383 h 200382"/>
                  <a:gd name="connsiteX8" fmla="*/ 164229 w 182460"/>
                  <a:gd name="connsiteY8" fmla="*/ 98713 h 200382"/>
                  <a:gd name="connsiteX9" fmla="*/ 182460 w 182460"/>
                  <a:gd name="connsiteY9" fmla="*/ 0 h 200382"/>
                  <a:gd name="connsiteX10" fmla="*/ 138661 w 182460"/>
                  <a:gd name="connsiteY10" fmla="*/ 0 h 200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460" h="200382">
                    <a:moveTo>
                      <a:pt x="138935" y="0"/>
                    </a:moveTo>
                    <a:lnTo>
                      <a:pt x="117035" y="118642"/>
                    </a:lnTo>
                    <a:cubicBezTo>
                      <a:pt x="110574" y="151820"/>
                      <a:pt x="96504" y="170599"/>
                      <a:pt x="71648" y="170599"/>
                    </a:cubicBezTo>
                    <a:cubicBezTo>
                      <a:pt x="45313" y="170599"/>
                      <a:pt x="38470" y="145086"/>
                      <a:pt x="43452" y="118259"/>
                    </a:cubicBezTo>
                    <a:lnTo>
                      <a:pt x="65351" y="0"/>
                    </a:lnTo>
                    <a:lnTo>
                      <a:pt x="21552" y="0"/>
                    </a:lnTo>
                    <a:lnTo>
                      <a:pt x="3101" y="98549"/>
                    </a:lnTo>
                    <a:cubicBezTo>
                      <a:pt x="-6972" y="155652"/>
                      <a:pt x="5948" y="200383"/>
                      <a:pt x="64804" y="200383"/>
                    </a:cubicBezTo>
                    <a:cubicBezTo>
                      <a:pt x="123660" y="200383"/>
                      <a:pt x="150980" y="169997"/>
                      <a:pt x="164229" y="98713"/>
                    </a:cubicBezTo>
                    <a:lnTo>
                      <a:pt x="182460" y="0"/>
                    </a:lnTo>
                    <a:lnTo>
                      <a:pt x="138661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xmlns="" id="{346EB66A-56F1-4366-AAA0-477C7499BDED}"/>
                  </a:ext>
                </a:extLst>
              </p:cNvPr>
              <p:cNvSpPr/>
              <p:nvPr/>
            </p:nvSpPr>
            <p:spPr>
              <a:xfrm>
                <a:off x="7054473" y="3566350"/>
                <a:ext cx="104790" cy="124845"/>
              </a:xfrm>
              <a:custGeom>
                <a:avLst/>
                <a:gdLst>
                  <a:gd name="connsiteX0" fmla="*/ 67342 w 104790"/>
                  <a:gd name="connsiteY0" fmla="*/ 18067 h 124845"/>
                  <a:gd name="connsiteX1" fmla="*/ 78292 w 104790"/>
                  <a:gd name="connsiteY1" fmla="*/ 27060 h 124845"/>
                  <a:gd name="connsiteX2" fmla="*/ 78292 w 104790"/>
                  <a:gd name="connsiteY2" fmla="*/ 29017 h 124845"/>
                  <a:gd name="connsiteX3" fmla="*/ 32904 w 104790"/>
                  <a:gd name="connsiteY3" fmla="*/ 60279 h 124845"/>
                  <a:gd name="connsiteX4" fmla="*/ 67396 w 104790"/>
                  <a:gd name="connsiteY4" fmla="*/ 18013 h 124845"/>
                  <a:gd name="connsiteX5" fmla="*/ 104790 w 104790"/>
                  <a:gd name="connsiteY5" fmla="*/ 24692 h 124845"/>
                  <a:gd name="connsiteX6" fmla="*/ 74678 w 104790"/>
                  <a:gd name="connsiteY6" fmla="*/ 0 h 124845"/>
                  <a:gd name="connsiteX7" fmla="*/ 0 w 104790"/>
                  <a:gd name="connsiteY7" fmla="*/ 80701 h 124845"/>
                  <a:gd name="connsiteX8" fmla="*/ 38325 w 104790"/>
                  <a:gd name="connsiteY8" fmla="*/ 124829 h 124845"/>
                  <a:gd name="connsiteX9" fmla="*/ 89679 w 104790"/>
                  <a:gd name="connsiteY9" fmla="*/ 108404 h 124845"/>
                  <a:gd name="connsiteX10" fmla="*/ 84697 w 104790"/>
                  <a:gd name="connsiteY10" fmla="*/ 97454 h 124845"/>
                  <a:gd name="connsiteX11" fmla="*/ 50753 w 104790"/>
                  <a:gd name="connsiteY11" fmla="*/ 104845 h 124845"/>
                  <a:gd name="connsiteX12" fmla="*/ 31262 w 104790"/>
                  <a:gd name="connsiteY12" fmla="*/ 72871 h 124845"/>
                  <a:gd name="connsiteX13" fmla="*/ 104736 w 104790"/>
                  <a:gd name="connsiteY13" fmla="*/ 24582 h 12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790" h="124845">
                    <a:moveTo>
                      <a:pt x="67342" y="18067"/>
                    </a:moveTo>
                    <a:cubicBezTo>
                      <a:pt x="72849" y="17527"/>
                      <a:pt x="77751" y="21553"/>
                      <a:pt x="78292" y="27060"/>
                    </a:cubicBezTo>
                    <a:cubicBezTo>
                      <a:pt x="78356" y="27711"/>
                      <a:pt x="78356" y="28366"/>
                      <a:pt x="78292" y="29017"/>
                    </a:cubicBezTo>
                    <a:cubicBezTo>
                      <a:pt x="78292" y="43581"/>
                      <a:pt x="56392" y="56720"/>
                      <a:pt x="32904" y="60279"/>
                    </a:cubicBezTo>
                    <a:cubicBezTo>
                      <a:pt x="39748" y="34492"/>
                      <a:pt x="52012" y="18013"/>
                      <a:pt x="67396" y="18013"/>
                    </a:cubicBezTo>
                    <a:moveTo>
                      <a:pt x="104790" y="24692"/>
                    </a:moveTo>
                    <a:cubicBezTo>
                      <a:pt x="104790" y="7501"/>
                      <a:pt x="87982" y="0"/>
                      <a:pt x="74678" y="0"/>
                    </a:cubicBezTo>
                    <a:cubicBezTo>
                      <a:pt x="27922" y="0"/>
                      <a:pt x="0" y="47522"/>
                      <a:pt x="0" y="80701"/>
                    </a:cubicBezTo>
                    <a:cubicBezTo>
                      <a:pt x="0" y="109334"/>
                      <a:pt x="16425" y="124829"/>
                      <a:pt x="38325" y="124829"/>
                    </a:cubicBezTo>
                    <a:cubicBezTo>
                      <a:pt x="56790" y="125196"/>
                      <a:pt x="74854" y="119419"/>
                      <a:pt x="89679" y="108404"/>
                    </a:cubicBezTo>
                    <a:lnTo>
                      <a:pt x="84697" y="97454"/>
                    </a:lnTo>
                    <a:cubicBezTo>
                      <a:pt x="74712" y="104093"/>
                      <a:pt x="62594" y="106732"/>
                      <a:pt x="50753" y="104845"/>
                    </a:cubicBezTo>
                    <a:cubicBezTo>
                      <a:pt x="30550" y="100137"/>
                      <a:pt x="30331" y="83328"/>
                      <a:pt x="31262" y="72871"/>
                    </a:cubicBezTo>
                    <a:cubicBezTo>
                      <a:pt x="57323" y="71886"/>
                      <a:pt x="104736" y="58910"/>
                      <a:pt x="104736" y="2458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xmlns="" id="{50707180-598C-469D-A496-B56C5D57664B}"/>
                  </a:ext>
                </a:extLst>
              </p:cNvPr>
              <p:cNvSpPr/>
              <p:nvPr/>
            </p:nvSpPr>
            <p:spPr>
              <a:xfrm>
                <a:off x="6915912" y="3533117"/>
                <a:ext cx="73300" cy="157897"/>
              </a:xfrm>
              <a:custGeom>
                <a:avLst/>
                <a:gdLst>
                  <a:gd name="connsiteX0" fmla="*/ 55069 w 73300"/>
                  <a:gd name="connsiteY0" fmla="*/ 138023 h 157897"/>
                  <a:gd name="connsiteX1" fmla="*/ 60051 w 73300"/>
                  <a:gd name="connsiteY1" fmla="*/ 148973 h 157897"/>
                  <a:gd name="connsiteX2" fmla="*/ 28077 w 73300"/>
                  <a:gd name="connsiteY2" fmla="*/ 157897 h 157897"/>
                  <a:gd name="connsiteX3" fmla="*/ 1579 w 73300"/>
                  <a:gd name="connsiteY3" fmla="*/ 115412 h 157897"/>
                  <a:gd name="connsiteX4" fmla="*/ 23150 w 73300"/>
                  <a:gd name="connsiteY4" fmla="*/ 0 h 157897"/>
                  <a:gd name="connsiteX5" fmla="*/ 51620 w 73300"/>
                  <a:gd name="connsiteY5" fmla="*/ 0 h 157897"/>
                  <a:gd name="connsiteX6" fmla="*/ 44885 w 73300"/>
                  <a:gd name="connsiteY6" fmla="*/ 36135 h 157897"/>
                  <a:gd name="connsiteX7" fmla="*/ 73300 w 73300"/>
                  <a:gd name="connsiteY7" fmla="*/ 36135 h 157897"/>
                  <a:gd name="connsiteX8" fmla="*/ 70508 w 73300"/>
                  <a:gd name="connsiteY8" fmla="*/ 52559 h 157897"/>
                  <a:gd name="connsiteX9" fmla="*/ 41984 w 73300"/>
                  <a:gd name="connsiteY9" fmla="*/ 52559 h 157897"/>
                  <a:gd name="connsiteX10" fmla="*/ 31034 w 73300"/>
                  <a:gd name="connsiteY10" fmla="*/ 111743 h 157897"/>
                  <a:gd name="connsiteX11" fmla="*/ 55343 w 73300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300" h="157897">
                    <a:moveTo>
                      <a:pt x="55069" y="138023"/>
                    </a:moveTo>
                    <a:lnTo>
                      <a:pt x="60051" y="148973"/>
                    </a:lnTo>
                    <a:cubicBezTo>
                      <a:pt x="50378" y="154742"/>
                      <a:pt x="39340" y="157823"/>
                      <a:pt x="28077" y="157897"/>
                    </a:cubicBezTo>
                    <a:cubicBezTo>
                      <a:pt x="7273" y="157897"/>
                      <a:pt x="-4444" y="146947"/>
                      <a:pt x="1579" y="115412"/>
                    </a:cubicBezTo>
                    <a:lnTo>
                      <a:pt x="23150" y="0"/>
                    </a:lnTo>
                    <a:lnTo>
                      <a:pt x="51620" y="0"/>
                    </a:lnTo>
                    <a:lnTo>
                      <a:pt x="44885" y="36135"/>
                    </a:lnTo>
                    <a:lnTo>
                      <a:pt x="73300" y="36135"/>
                    </a:lnTo>
                    <a:lnTo>
                      <a:pt x="70508" y="52559"/>
                    </a:lnTo>
                    <a:lnTo>
                      <a:pt x="41984" y="52559"/>
                    </a:lnTo>
                    <a:lnTo>
                      <a:pt x="31034" y="111743"/>
                    </a:lnTo>
                    <a:cubicBezTo>
                      <a:pt x="24847" y="145907"/>
                      <a:pt x="41984" y="142841"/>
                      <a:pt x="55343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xmlns="" id="{51EEF882-7A59-4643-AA8F-C0E171AE2EF0}"/>
                  </a:ext>
                </a:extLst>
              </p:cNvPr>
              <p:cNvSpPr/>
              <p:nvPr/>
            </p:nvSpPr>
            <p:spPr>
              <a:xfrm>
                <a:off x="6636935" y="3533117"/>
                <a:ext cx="73219" cy="157897"/>
              </a:xfrm>
              <a:custGeom>
                <a:avLst/>
                <a:gdLst>
                  <a:gd name="connsiteX0" fmla="*/ 54988 w 73219"/>
                  <a:gd name="connsiteY0" fmla="*/ 138023 h 157897"/>
                  <a:gd name="connsiteX1" fmla="*/ 59970 w 73219"/>
                  <a:gd name="connsiteY1" fmla="*/ 148973 h 157897"/>
                  <a:gd name="connsiteX2" fmla="*/ 27996 w 73219"/>
                  <a:gd name="connsiteY2" fmla="*/ 157897 h 157897"/>
                  <a:gd name="connsiteX3" fmla="*/ 1552 w 73219"/>
                  <a:gd name="connsiteY3" fmla="*/ 115412 h 157897"/>
                  <a:gd name="connsiteX4" fmla="*/ 22905 w 73219"/>
                  <a:gd name="connsiteY4" fmla="*/ 0 h 157897"/>
                  <a:gd name="connsiteX5" fmla="*/ 51374 w 73219"/>
                  <a:gd name="connsiteY5" fmla="*/ 0 h 157897"/>
                  <a:gd name="connsiteX6" fmla="*/ 44804 w 73219"/>
                  <a:gd name="connsiteY6" fmla="*/ 36135 h 157897"/>
                  <a:gd name="connsiteX7" fmla="*/ 73219 w 73219"/>
                  <a:gd name="connsiteY7" fmla="*/ 36135 h 157897"/>
                  <a:gd name="connsiteX8" fmla="*/ 70317 w 73219"/>
                  <a:gd name="connsiteY8" fmla="*/ 52559 h 157897"/>
                  <a:gd name="connsiteX9" fmla="*/ 41738 w 73219"/>
                  <a:gd name="connsiteY9" fmla="*/ 52559 h 157897"/>
                  <a:gd name="connsiteX10" fmla="*/ 30788 w 73219"/>
                  <a:gd name="connsiteY10" fmla="*/ 111743 h 157897"/>
                  <a:gd name="connsiteX11" fmla="*/ 55042 w 73219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219" h="157897">
                    <a:moveTo>
                      <a:pt x="54988" y="138023"/>
                    </a:moveTo>
                    <a:lnTo>
                      <a:pt x="59970" y="148973"/>
                    </a:lnTo>
                    <a:cubicBezTo>
                      <a:pt x="50300" y="154749"/>
                      <a:pt x="39260" y="157831"/>
                      <a:pt x="27996" y="157897"/>
                    </a:cubicBezTo>
                    <a:cubicBezTo>
                      <a:pt x="7082" y="157897"/>
                      <a:pt x="-4361" y="146947"/>
                      <a:pt x="1552" y="115412"/>
                    </a:cubicBezTo>
                    <a:lnTo>
                      <a:pt x="22905" y="0"/>
                    </a:lnTo>
                    <a:lnTo>
                      <a:pt x="51374" y="0"/>
                    </a:lnTo>
                    <a:lnTo>
                      <a:pt x="44804" y="36135"/>
                    </a:lnTo>
                    <a:lnTo>
                      <a:pt x="73219" y="36135"/>
                    </a:lnTo>
                    <a:lnTo>
                      <a:pt x="70317" y="52559"/>
                    </a:lnTo>
                    <a:lnTo>
                      <a:pt x="41738" y="52559"/>
                    </a:lnTo>
                    <a:lnTo>
                      <a:pt x="30788" y="111743"/>
                    </a:lnTo>
                    <a:cubicBezTo>
                      <a:pt x="24547" y="145907"/>
                      <a:pt x="41355" y="142841"/>
                      <a:pt x="55042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xmlns="" id="{B95DB522-B5A6-4A7D-A85D-0A257D85E62B}"/>
                  </a:ext>
                </a:extLst>
              </p:cNvPr>
              <p:cNvSpPr/>
              <p:nvPr/>
            </p:nvSpPr>
            <p:spPr>
              <a:xfrm>
                <a:off x="6712071" y="3569471"/>
                <a:ext cx="50533" cy="118860"/>
              </a:xfrm>
              <a:custGeom>
                <a:avLst/>
                <a:gdLst>
                  <a:gd name="connsiteX0" fmla="*/ 50534 w 50533"/>
                  <a:gd name="connsiteY0" fmla="*/ 0 h 118860"/>
                  <a:gd name="connsiteX1" fmla="*/ 28524 w 50533"/>
                  <a:gd name="connsiteY1" fmla="*/ 118861 h 118860"/>
                  <a:gd name="connsiteX2" fmla="*/ 0 w 50533"/>
                  <a:gd name="connsiteY2" fmla="*/ 118861 h 118860"/>
                  <a:gd name="connsiteX3" fmla="*/ 22228 w 50533"/>
                  <a:gd name="connsiteY3" fmla="*/ 0 h 118860"/>
                  <a:gd name="connsiteX4" fmla="*/ 50534 w 5053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33" h="118860">
                    <a:moveTo>
                      <a:pt x="50534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228" y="0"/>
                    </a:lnTo>
                    <a:lnTo>
                      <a:pt x="50534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xmlns="" id="{AD334128-27CC-49C9-85C3-5DB93770D1D0}"/>
                  </a:ext>
                </a:extLst>
              </p:cNvPr>
              <p:cNvSpPr/>
              <p:nvPr/>
            </p:nvSpPr>
            <p:spPr>
              <a:xfrm>
                <a:off x="6739765" y="3521291"/>
                <a:ext cx="29254" cy="31042"/>
              </a:xfrm>
              <a:custGeom>
                <a:avLst/>
                <a:gdLst>
                  <a:gd name="connsiteX0" fmla="*/ 14627 w 29254"/>
                  <a:gd name="connsiteY0" fmla="*/ 0 h 31042"/>
                  <a:gd name="connsiteX1" fmla="*/ 28 w 29254"/>
                  <a:gd name="connsiteY1" fmla="*/ 16444 h 31042"/>
                  <a:gd name="connsiteX2" fmla="*/ 14627 w 29254"/>
                  <a:gd name="connsiteY2" fmla="*/ 31043 h 31042"/>
                  <a:gd name="connsiteX3" fmla="*/ 29226 w 29254"/>
                  <a:gd name="connsiteY3" fmla="*/ 14599 h 31042"/>
                  <a:gd name="connsiteX4" fmla="*/ 14627 w 29254"/>
                  <a:gd name="connsiteY4" fmla="*/ 0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4" h="31042">
                    <a:moveTo>
                      <a:pt x="14627" y="0"/>
                    </a:moveTo>
                    <a:cubicBezTo>
                      <a:pt x="6055" y="509"/>
                      <a:pt x="-481" y="7871"/>
                      <a:pt x="28" y="16444"/>
                    </a:cubicBezTo>
                    <a:cubicBezTo>
                      <a:pt x="495" y="24305"/>
                      <a:pt x="6766" y="30576"/>
                      <a:pt x="14627" y="31043"/>
                    </a:cubicBezTo>
                    <a:cubicBezTo>
                      <a:pt x="23199" y="30534"/>
                      <a:pt x="29736" y="23171"/>
                      <a:pt x="29226" y="14599"/>
                    </a:cubicBezTo>
                    <a:cubicBezTo>
                      <a:pt x="28759" y="6738"/>
                      <a:pt x="22488" y="467"/>
                      <a:pt x="14627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xmlns="" id="{001EF51E-4933-4AC5-9583-82375E333052}"/>
                  </a:ext>
                </a:extLst>
              </p:cNvPr>
              <p:cNvSpPr/>
              <p:nvPr/>
            </p:nvSpPr>
            <p:spPr>
              <a:xfrm>
                <a:off x="6847795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524 w 50643"/>
                  <a:gd name="connsiteY1" fmla="*/ 118861 h 118860"/>
                  <a:gd name="connsiteX2" fmla="*/ 0 w 50643"/>
                  <a:gd name="connsiteY2" fmla="*/ 118861 h 118860"/>
                  <a:gd name="connsiteX3" fmla="*/ 2211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11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xmlns="" id="{8618FA45-5D92-4725-93F8-C47C8E9FDBA7}"/>
                  </a:ext>
                </a:extLst>
              </p:cNvPr>
              <p:cNvSpPr/>
              <p:nvPr/>
            </p:nvSpPr>
            <p:spPr>
              <a:xfrm>
                <a:off x="6874622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8 w 31097"/>
                  <a:gd name="connsiteY4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28" y="7084"/>
                      <a:pt x="24233" y="91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xmlns="" id="{E94D031C-CB72-4958-B0A5-F23DEEB7AC04}"/>
                  </a:ext>
                </a:extLst>
              </p:cNvPr>
              <p:cNvSpPr/>
              <p:nvPr/>
            </p:nvSpPr>
            <p:spPr>
              <a:xfrm>
                <a:off x="6991566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415 w 50643"/>
                  <a:gd name="connsiteY1" fmla="*/ 118861 h 118860"/>
                  <a:gd name="connsiteX2" fmla="*/ 0 w 50643"/>
                  <a:gd name="connsiteY2" fmla="*/ 118861 h 118860"/>
                  <a:gd name="connsiteX3" fmla="*/ 2200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415" y="118861"/>
                    </a:lnTo>
                    <a:lnTo>
                      <a:pt x="0" y="118861"/>
                    </a:lnTo>
                    <a:lnTo>
                      <a:pt x="2200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xmlns="" id="{5D5E08ED-E823-4BCB-9F45-D1C4E50E8973}"/>
                  </a:ext>
                </a:extLst>
              </p:cNvPr>
              <p:cNvSpPr/>
              <p:nvPr/>
            </p:nvSpPr>
            <p:spPr>
              <a:xfrm>
                <a:off x="7018339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9 w 31097"/>
                  <a:gd name="connsiteY4" fmla="*/ 0 h 31097"/>
                  <a:gd name="connsiteX5" fmla="*/ 15658 w 31097"/>
                  <a:gd name="connsiteY5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58" y="7072"/>
                      <a:pt x="24246" y="61"/>
                      <a:pt x="15659" y="0"/>
                    </a:cubicBezTo>
                    <a:cubicBezTo>
                      <a:pt x="15659" y="0"/>
                      <a:pt x="15658" y="0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xmlns="" id="{6088BAC0-429A-42E8-982B-E75DDE2BEA8B}"/>
                  </a:ext>
                </a:extLst>
              </p:cNvPr>
              <p:cNvSpPr/>
              <p:nvPr/>
            </p:nvSpPr>
            <p:spPr>
              <a:xfrm>
                <a:off x="7160140" y="3566391"/>
                <a:ext cx="96139" cy="124678"/>
              </a:xfrm>
              <a:custGeom>
                <a:avLst/>
                <a:gdLst>
                  <a:gd name="connsiteX0" fmla="*/ 96030 w 96139"/>
                  <a:gd name="connsiteY0" fmla="*/ 13592 h 124678"/>
                  <a:gd name="connsiteX1" fmla="*/ 90939 w 96139"/>
                  <a:gd name="connsiteY1" fmla="*/ 24542 h 124678"/>
                  <a:gd name="connsiteX2" fmla="*/ 90939 w 96139"/>
                  <a:gd name="connsiteY2" fmla="*/ 24542 h 124678"/>
                  <a:gd name="connsiteX3" fmla="*/ 48070 w 96139"/>
                  <a:gd name="connsiteY3" fmla="*/ 30017 h 124678"/>
                  <a:gd name="connsiteX4" fmla="*/ 89187 w 96139"/>
                  <a:gd name="connsiteY4" fmla="*/ 87558 h 124678"/>
                  <a:gd name="connsiteX5" fmla="*/ 41062 w 96139"/>
                  <a:gd name="connsiteY5" fmla="*/ 124678 h 124678"/>
                  <a:gd name="connsiteX6" fmla="*/ 0 w 96139"/>
                  <a:gd name="connsiteY6" fmla="*/ 108254 h 124678"/>
                  <a:gd name="connsiteX7" fmla="*/ 4927 w 96139"/>
                  <a:gd name="connsiteY7" fmla="*/ 97304 h 124678"/>
                  <a:gd name="connsiteX8" fmla="*/ 55899 w 96139"/>
                  <a:gd name="connsiteY8" fmla="*/ 91829 h 124678"/>
                  <a:gd name="connsiteX9" fmla="*/ 14782 w 96139"/>
                  <a:gd name="connsiteY9" fmla="*/ 38339 h 124678"/>
                  <a:gd name="connsiteX10" fmla="*/ 55461 w 96139"/>
                  <a:gd name="connsiteY10" fmla="*/ 14 h 124678"/>
                  <a:gd name="connsiteX11" fmla="*/ 96140 w 96139"/>
                  <a:gd name="connsiteY11" fmla="*/ 13592 h 12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39" h="124678">
                    <a:moveTo>
                      <a:pt x="96030" y="13592"/>
                    </a:moveTo>
                    <a:lnTo>
                      <a:pt x="90939" y="24542"/>
                    </a:lnTo>
                    <a:lnTo>
                      <a:pt x="90939" y="24542"/>
                    </a:lnTo>
                    <a:cubicBezTo>
                      <a:pt x="61648" y="7350"/>
                      <a:pt x="48070" y="19833"/>
                      <a:pt x="48070" y="30017"/>
                    </a:cubicBezTo>
                    <a:cubicBezTo>
                      <a:pt x="48070" y="50986"/>
                      <a:pt x="89187" y="54106"/>
                      <a:pt x="89187" y="87558"/>
                    </a:cubicBezTo>
                    <a:cubicBezTo>
                      <a:pt x="89187" y="104312"/>
                      <a:pt x="75226" y="124678"/>
                      <a:pt x="41062" y="124678"/>
                    </a:cubicBezTo>
                    <a:cubicBezTo>
                      <a:pt x="25939" y="123878"/>
                      <a:pt x="11503" y="118104"/>
                      <a:pt x="0" y="108254"/>
                    </a:cubicBezTo>
                    <a:lnTo>
                      <a:pt x="4927" y="97304"/>
                    </a:lnTo>
                    <a:cubicBezTo>
                      <a:pt x="27922" y="114112"/>
                      <a:pt x="55899" y="107487"/>
                      <a:pt x="55899" y="91829"/>
                    </a:cubicBezTo>
                    <a:cubicBezTo>
                      <a:pt x="55899" y="71900"/>
                      <a:pt x="14782" y="64837"/>
                      <a:pt x="14782" y="38339"/>
                    </a:cubicBezTo>
                    <a:cubicBezTo>
                      <a:pt x="14782" y="10964"/>
                      <a:pt x="42157" y="14"/>
                      <a:pt x="55461" y="14"/>
                    </a:cubicBezTo>
                    <a:cubicBezTo>
                      <a:pt x="70182" y="-295"/>
                      <a:pt x="84556" y="4503"/>
                      <a:pt x="96140" y="1359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xmlns="" id="{BD557A81-967E-4C09-83DA-D8EC2CF35B6E}"/>
                  </a:ext>
                </a:extLst>
              </p:cNvPr>
              <p:cNvSpPr/>
              <p:nvPr/>
            </p:nvSpPr>
            <p:spPr>
              <a:xfrm>
                <a:off x="6476103" y="3533336"/>
                <a:ext cx="149518" cy="157897"/>
              </a:xfrm>
              <a:custGeom>
                <a:avLst/>
                <a:gdLst>
                  <a:gd name="connsiteX0" fmla="*/ 113494 w 149518"/>
                  <a:gd name="connsiteY0" fmla="*/ 0 h 157897"/>
                  <a:gd name="connsiteX1" fmla="*/ 97069 w 149518"/>
                  <a:gd name="connsiteY1" fmla="*/ 90117 h 157897"/>
                  <a:gd name="connsiteX2" fmla="*/ 59292 w 149518"/>
                  <a:gd name="connsiteY2" fmla="*/ 133096 h 157897"/>
                  <a:gd name="connsiteX3" fmla="*/ 36243 w 149518"/>
                  <a:gd name="connsiteY3" fmla="*/ 90008 h 157897"/>
                  <a:gd name="connsiteX4" fmla="*/ 52667 w 149518"/>
                  <a:gd name="connsiteY4" fmla="*/ 0 h 157897"/>
                  <a:gd name="connsiteX5" fmla="*/ 16423 w 149518"/>
                  <a:gd name="connsiteY5" fmla="*/ 0 h 157897"/>
                  <a:gd name="connsiteX6" fmla="*/ 2736 w 149518"/>
                  <a:gd name="connsiteY6" fmla="*/ 73857 h 157897"/>
                  <a:gd name="connsiteX7" fmla="*/ 53653 w 149518"/>
                  <a:gd name="connsiteY7" fmla="*/ 157897 h 157897"/>
                  <a:gd name="connsiteX8" fmla="*/ 135777 w 149518"/>
                  <a:gd name="connsiteY8" fmla="*/ 74076 h 157897"/>
                  <a:gd name="connsiteX9" fmla="*/ 149519 w 149518"/>
                  <a:gd name="connsiteY9" fmla="*/ 0 h 157897"/>
                  <a:gd name="connsiteX10" fmla="*/ 113384 w 149518"/>
                  <a:gd name="connsiteY10" fmla="*/ 0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518" h="157897">
                    <a:moveTo>
                      <a:pt x="113494" y="0"/>
                    </a:moveTo>
                    <a:lnTo>
                      <a:pt x="97069" y="90117"/>
                    </a:lnTo>
                    <a:cubicBezTo>
                      <a:pt x="91594" y="117492"/>
                      <a:pt x="79604" y="133096"/>
                      <a:pt x="59292" y="133096"/>
                    </a:cubicBezTo>
                    <a:cubicBezTo>
                      <a:pt x="37721" y="133096"/>
                      <a:pt x="31917" y="112127"/>
                      <a:pt x="36243" y="90008"/>
                    </a:cubicBezTo>
                    <a:lnTo>
                      <a:pt x="52667" y="0"/>
                    </a:lnTo>
                    <a:lnTo>
                      <a:pt x="16423" y="0"/>
                    </a:lnTo>
                    <a:lnTo>
                      <a:pt x="2736" y="73857"/>
                    </a:lnTo>
                    <a:cubicBezTo>
                      <a:pt x="-6079" y="120777"/>
                      <a:pt x="5254" y="157897"/>
                      <a:pt x="53653" y="157897"/>
                    </a:cubicBezTo>
                    <a:cubicBezTo>
                      <a:pt x="102051" y="157897"/>
                      <a:pt x="125210" y="132767"/>
                      <a:pt x="135777" y="74076"/>
                    </a:cubicBezTo>
                    <a:lnTo>
                      <a:pt x="149519" y="0"/>
                    </a:lnTo>
                    <a:lnTo>
                      <a:pt x="113384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xmlns="" id="{9E069ABC-3837-4A6A-BCF6-AED030122123}"/>
                  </a:ext>
                </a:extLst>
              </p:cNvPr>
              <p:cNvSpPr/>
              <p:nvPr/>
            </p:nvSpPr>
            <p:spPr>
              <a:xfrm>
                <a:off x="6782764" y="3533336"/>
                <a:ext cx="52273" cy="157897"/>
              </a:xfrm>
              <a:custGeom>
                <a:avLst/>
                <a:gdLst>
                  <a:gd name="connsiteX0" fmla="*/ 47401 w 52273"/>
                  <a:gd name="connsiteY0" fmla="*/ 140104 h 157897"/>
                  <a:gd name="connsiteX1" fmla="*/ 30976 w 52273"/>
                  <a:gd name="connsiteY1" fmla="*/ 111524 h 157897"/>
                  <a:gd name="connsiteX2" fmla="*/ 51672 w 52273"/>
                  <a:gd name="connsiteY2" fmla="*/ 0 h 157897"/>
                  <a:gd name="connsiteX3" fmla="*/ 23202 w 52273"/>
                  <a:gd name="connsiteY3" fmla="*/ 0 h 157897"/>
                  <a:gd name="connsiteX4" fmla="*/ 1576 w 52273"/>
                  <a:gd name="connsiteY4" fmla="*/ 115357 h 157897"/>
                  <a:gd name="connsiteX5" fmla="*/ 28075 w 52273"/>
                  <a:gd name="connsiteY5" fmla="*/ 157897 h 157897"/>
                  <a:gd name="connsiteX6" fmla="*/ 52274 w 52273"/>
                  <a:gd name="connsiteY6" fmla="*/ 151053 h 157897"/>
                  <a:gd name="connsiteX7" fmla="*/ 47401 w 52273"/>
                  <a:gd name="connsiteY7" fmla="*/ 140104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273" h="157897">
                    <a:moveTo>
                      <a:pt x="47401" y="140104"/>
                    </a:moveTo>
                    <a:cubicBezTo>
                      <a:pt x="35959" y="143279"/>
                      <a:pt x="24461" y="141253"/>
                      <a:pt x="30976" y="111524"/>
                    </a:cubicBezTo>
                    <a:lnTo>
                      <a:pt x="51672" y="0"/>
                    </a:lnTo>
                    <a:lnTo>
                      <a:pt x="23202" y="0"/>
                    </a:lnTo>
                    <a:lnTo>
                      <a:pt x="1576" y="115357"/>
                    </a:lnTo>
                    <a:cubicBezTo>
                      <a:pt x="-4392" y="147221"/>
                      <a:pt x="7051" y="157897"/>
                      <a:pt x="28075" y="157897"/>
                    </a:cubicBezTo>
                    <a:cubicBezTo>
                      <a:pt x="36570" y="157567"/>
                      <a:pt x="44864" y="155222"/>
                      <a:pt x="52274" y="151053"/>
                    </a:cubicBezTo>
                    <a:lnTo>
                      <a:pt x="47401" y="140104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xmlns="" id="{684E6A1E-ABB3-4B89-BD68-8C651D4E14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xmlns="" r:embed="rId5"/>
                </a:ext>
              </a:extLst>
            </a:blip>
            <a:stretch>
              <a:fillRect/>
            </a:stretch>
          </p:blipFill>
          <p:spPr>
            <a:xfrm>
              <a:off x="10096123" y="3236497"/>
              <a:ext cx="1059319" cy="5668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513542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&#10;&#10;Description automatically generated">
            <a:extLst>
              <a:ext uri="{FF2B5EF4-FFF2-40B4-BE49-F238E27FC236}">
                <a16:creationId xmlns="" xmlns:a16="http://schemas.microsoft.com/office/drawing/2014/main" id="{3FBB4CE0-98D2-4D46-90FB-327A02479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87163" y="1503680"/>
            <a:ext cx="7106598" cy="118564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4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alpha val="16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7482" y="2982657"/>
            <a:ext cx="7086278" cy="175190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CA58EE7C-ED03-4F55-9FCC-9E3A526BF5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9150" y="2689326"/>
            <a:ext cx="4177504" cy="430564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32A593BE-8D00-4A6C-A105-EA93F0D933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69561" y="3643758"/>
            <a:ext cx="1971028" cy="163256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C0DB6A67-7AD9-4401-9641-A63E6F558A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3087" y="4135656"/>
            <a:ext cx="424295" cy="60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9507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&#10;&#10;Description automatically generated">
            <a:extLst>
              <a:ext uri="{FF2B5EF4-FFF2-40B4-BE49-F238E27FC236}">
                <a16:creationId xmlns="" xmlns:a16="http://schemas.microsoft.com/office/drawing/2014/main" id="{3FBB4CE0-98D2-4D46-90FB-327A02479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87163" y="1503680"/>
            <a:ext cx="7106598" cy="118564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4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alpha val="16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7482" y="2982657"/>
            <a:ext cx="7086278" cy="175190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CA58EE7C-ED03-4F55-9FCC-9E3A526BF5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9150" y="2689326"/>
            <a:ext cx="4177504" cy="430564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32A593BE-8D00-4A6C-A105-EA93F0D933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69561" y="3643758"/>
            <a:ext cx="1971028" cy="163256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C0DB6A67-7AD9-4401-9641-A63E6F558A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3087" y="4135656"/>
            <a:ext cx="424295" cy="60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327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2003" y="1026305"/>
            <a:ext cx="8551332" cy="339785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  <a:effectLst/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52721" y="2468880"/>
            <a:ext cx="5913119" cy="28651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Hexagon 8">
            <a:extLst>
              <a:ext uri="{FF2B5EF4-FFF2-40B4-BE49-F238E27FC236}">
                <a16:creationId xmlns="" xmlns:a16="http://schemas.microsoft.com/office/drawing/2014/main" id="{6335578B-BE77-4804-ACD9-CBFE6D4DD6E5}"/>
              </a:ext>
            </a:extLst>
          </p:cNvPr>
          <p:cNvSpPr/>
          <p:nvPr userDrawn="1"/>
        </p:nvSpPr>
        <p:spPr>
          <a:xfrm>
            <a:off x="2823787" y="1805226"/>
            <a:ext cx="1908699" cy="1645430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11" name="Picture Placeholder 19">
            <a:extLst>
              <a:ext uri="{FF2B5EF4-FFF2-40B4-BE49-F238E27FC236}">
                <a16:creationId xmlns="" xmlns:a16="http://schemas.microsoft.com/office/drawing/2014/main" id="{1B6D9908-CDFE-4A55-8D25-2855842711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1" y="2072901"/>
            <a:ext cx="3453175" cy="3950996"/>
          </a:xfrm>
          <a:custGeom>
            <a:avLst/>
            <a:gdLst>
              <a:gd name="connsiteX0" fmla="*/ 0 w 4583160"/>
              <a:gd name="connsiteY0" fmla="*/ 1975499 h 3950998"/>
              <a:gd name="connsiteX1" fmla="*/ 1129985 w 4583160"/>
              <a:gd name="connsiteY1" fmla="*/ 1 h 3950998"/>
              <a:gd name="connsiteX2" fmla="*/ 3453175 w 4583160"/>
              <a:gd name="connsiteY2" fmla="*/ 1 h 3950998"/>
              <a:gd name="connsiteX3" fmla="*/ 4583160 w 4583160"/>
              <a:gd name="connsiteY3" fmla="*/ 1975499 h 3950998"/>
              <a:gd name="connsiteX4" fmla="*/ 3453175 w 4583160"/>
              <a:gd name="connsiteY4" fmla="*/ 3950997 h 3950998"/>
              <a:gd name="connsiteX5" fmla="*/ 1129985 w 4583160"/>
              <a:gd name="connsiteY5" fmla="*/ 3950997 h 3950998"/>
              <a:gd name="connsiteX6" fmla="*/ 0 w 4583160"/>
              <a:gd name="connsiteY6" fmla="*/ 1975499 h 3950998"/>
              <a:gd name="connsiteX0" fmla="*/ 0 w 3453175"/>
              <a:gd name="connsiteY0" fmla="*/ 3950996 h 3950996"/>
              <a:gd name="connsiteX1" fmla="*/ 0 w 3453175"/>
              <a:gd name="connsiteY1" fmla="*/ 0 h 3950996"/>
              <a:gd name="connsiteX2" fmla="*/ 2323190 w 3453175"/>
              <a:gd name="connsiteY2" fmla="*/ 0 h 3950996"/>
              <a:gd name="connsiteX3" fmla="*/ 3453175 w 3453175"/>
              <a:gd name="connsiteY3" fmla="*/ 1975498 h 3950996"/>
              <a:gd name="connsiteX4" fmla="*/ 2323190 w 3453175"/>
              <a:gd name="connsiteY4" fmla="*/ 3950996 h 3950996"/>
              <a:gd name="connsiteX5" fmla="*/ 0 w 3453175"/>
              <a:gd name="connsiteY5" fmla="*/ 3950996 h 395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3175" h="3950996">
                <a:moveTo>
                  <a:pt x="0" y="3950996"/>
                </a:moveTo>
                <a:lnTo>
                  <a:pt x="0" y="0"/>
                </a:lnTo>
                <a:lnTo>
                  <a:pt x="2323190" y="0"/>
                </a:lnTo>
                <a:lnTo>
                  <a:pt x="3453175" y="1975498"/>
                </a:lnTo>
                <a:lnTo>
                  <a:pt x="2323190" y="3950996"/>
                </a:lnTo>
                <a:lnTo>
                  <a:pt x="0" y="3950996"/>
                </a:lnTo>
                <a:close/>
              </a:path>
            </a:pathLst>
          </a:custGeom>
          <a:solidFill>
            <a:schemeClr val="bg2"/>
          </a:solidFill>
        </p:spPr>
        <p:txBody>
          <a:bodyPr lIns="72000" rIns="72000" bIns="180000" anchor="b"/>
          <a:lstStyle>
            <a:lvl1pPr marL="0" indent="0" algn="l">
              <a:buNone/>
              <a:defRPr sz="1800"/>
            </a:lvl1pPr>
          </a:lstStyle>
          <a:p>
            <a:r>
              <a:rPr lang="en-GB"/>
              <a:t>  Insert image</a:t>
            </a:r>
          </a:p>
        </p:txBody>
      </p:sp>
    </p:spTree>
    <p:extLst>
      <p:ext uri="{BB962C8B-B14F-4D97-AF65-F5344CB8AC3E}">
        <p14:creationId xmlns:p14="http://schemas.microsoft.com/office/powerpoint/2010/main" val="38195741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2003" y="1026305"/>
            <a:ext cx="8551332" cy="339785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  <a:effectLst/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="" xmlns:a16="http://schemas.microsoft.com/office/drawing/2014/main" id="{B5392F6B-A1ED-474A-AF82-B828ED53CD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778000"/>
            <a:ext cx="8551332" cy="42176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21016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out subheading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B1226BF-E288-4688-A2DB-DB0BDC89D5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54667"/>
            <a:ext cx="8551334" cy="46410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  <p:sp>
        <p:nvSpPr>
          <p:cNvPr id="12" name="Footer Placeholder 1">
            <a:extLst>
              <a:ext uri="{FF2B5EF4-FFF2-40B4-BE49-F238E27FC236}">
                <a16:creationId xmlns="" xmlns:a16="http://schemas.microsoft.com/office/drawing/2014/main" id="{83095328-C62C-4CE9-B0A4-B1409B0E072C}"/>
              </a:ext>
            </a:extLst>
          </p:cNvPr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alpha val="16000"/>
                  </a:srgbClr>
                </a:solidFill>
              </a:rPr>
              <a:t>Copyright © United Utilities Water Limited 2022</a:t>
            </a:r>
          </a:p>
        </p:txBody>
      </p:sp>
    </p:spTree>
    <p:extLst>
      <p:ext uri="{BB962C8B-B14F-4D97-AF65-F5344CB8AC3E}">
        <p14:creationId xmlns:p14="http://schemas.microsoft.com/office/powerpoint/2010/main" val="35059102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out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54667"/>
            <a:ext cx="8551332" cy="46410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607601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7866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115D8BE3-DF9D-43C9-830C-8BD784B4F2D5}"/>
              </a:ext>
            </a:extLst>
          </p:cNvPr>
          <p:cNvGrpSpPr/>
          <p:nvPr userDrawn="1"/>
        </p:nvGrpSpPr>
        <p:grpSpPr>
          <a:xfrm>
            <a:off x="762001" y="2112884"/>
            <a:ext cx="3449331" cy="3523007"/>
            <a:chOff x="762001" y="2112884"/>
            <a:chExt cx="3392749" cy="3523007"/>
          </a:xfrm>
        </p:grpSpPr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8029D50-7C02-4A6A-8327-BE2EF39C11C8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="" xmlns:a16="http://schemas.microsoft.com/office/drawing/2014/main" id="{818D639F-BDE1-4DFF-9969-62B1E0659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="" xmlns:a16="http://schemas.microsoft.com/office/drawing/2014/main" id="{C65B6616-D61E-4403-A58B-FD1DB8B131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0A02E44D-41F6-47BF-8385-DE8C42269305}"/>
              </a:ext>
            </a:extLst>
          </p:cNvPr>
          <p:cNvGrpSpPr/>
          <p:nvPr userDrawn="1"/>
        </p:nvGrpSpPr>
        <p:grpSpPr>
          <a:xfrm>
            <a:off x="4383944" y="2112884"/>
            <a:ext cx="3449331" cy="3523007"/>
            <a:chOff x="762001" y="2112884"/>
            <a:chExt cx="3392749" cy="3523007"/>
          </a:xfrm>
        </p:grpSpPr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0A5C607B-275C-4B36-A1EB-C0CC9571E754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="" xmlns:a16="http://schemas.microsoft.com/office/drawing/2014/main" id="{3944BC65-5DEC-485D-B639-6C514168C9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="" xmlns:a16="http://schemas.microsoft.com/office/drawing/2014/main" id="{DB366307-260D-44DD-B6D1-580178DEC1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6E1B722C-518C-48F1-AF9C-F8B343B43C99}"/>
              </a:ext>
            </a:extLst>
          </p:cNvPr>
          <p:cNvGrpSpPr/>
          <p:nvPr userDrawn="1"/>
        </p:nvGrpSpPr>
        <p:grpSpPr>
          <a:xfrm>
            <a:off x="7991258" y="2112884"/>
            <a:ext cx="3449331" cy="3523007"/>
            <a:chOff x="762001" y="2112884"/>
            <a:chExt cx="3392749" cy="3523007"/>
          </a:xfrm>
        </p:grpSpPr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83FB2C45-8202-4B47-A3B3-364CE73133A4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A4C87733-6ACA-4A29-A0AE-B2A7D69C36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05D4E9C1-74D6-4675-8785-00832674F4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Hexagon 36">
            <a:extLst>
              <a:ext uri="{FF2B5EF4-FFF2-40B4-BE49-F238E27FC236}">
                <a16:creationId xmlns="" xmlns:a16="http://schemas.microsoft.com/office/drawing/2014/main" id="{C26C9C7A-47B7-4E9D-B7D5-ACF27CD69986}"/>
              </a:ext>
            </a:extLst>
          </p:cNvPr>
          <p:cNvSpPr/>
          <p:nvPr userDrawn="1"/>
        </p:nvSpPr>
        <p:spPr>
          <a:xfrm>
            <a:off x="2202157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8" name="Hexagon 37">
            <a:extLst>
              <a:ext uri="{FF2B5EF4-FFF2-40B4-BE49-F238E27FC236}">
                <a16:creationId xmlns="" xmlns:a16="http://schemas.microsoft.com/office/drawing/2014/main" id="{F6B2D622-DDB9-4EDE-9F4F-06B96B02E7AA}"/>
              </a:ext>
            </a:extLst>
          </p:cNvPr>
          <p:cNvSpPr/>
          <p:nvPr userDrawn="1"/>
        </p:nvSpPr>
        <p:spPr>
          <a:xfrm>
            <a:off x="5824100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39" name="Hexagon 38">
            <a:extLst>
              <a:ext uri="{FF2B5EF4-FFF2-40B4-BE49-F238E27FC236}">
                <a16:creationId xmlns="" xmlns:a16="http://schemas.microsoft.com/office/drawing/2014/main" id="{75A865D4-0540-47E3-AEA5-AE531044036F}"/>
              </a:ext>
            </a:extLst>
          </p:cNvPr>
          <p:cNvSpPr/>
          <p:nvPr userDrawn="1"/>
        </p:nvSpPr>
        <p:spPr>
          <a:xfrm>
            <a:off x="9446043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40" name="Text Placeholder 5">
            <a:extLst>
              <a:ext uri="{FF2B5EF4-FFF2-40B4-BE49-F238E27FC236}">
                <a16:creationId xmlns="" xmlns:a16="http://schemas.microsoft.com/office/drawing/2014/main" id="{B024148B-15CE-4D60-94F9-DD99481C67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86123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3778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="" xmlns:a16="http://schemas.microsoft.com/office/drawing/2014/main" id="{A8CE5D88-6B6E-44E9-8841-03FD2BD997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642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44" name="Text Placeholder 5">
            <a:extLst>
              <a:ext uri="{FF2B5EF4-FFF2-40B4-BE49-F238E27FC236}">
                <a16:creationId xmlns="" xmlns:a16="http://schemas.microsoft.com/office/drawing/2014/main" id="{31CB24F3-1F27-43B8-935C-ED751B850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8297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="" xmlns:a16="http://schemas.microsoft.com/office/drawing/2014/main" id="{5F0C79BD-4652-4D71-9CBB-38F6096A6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09071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52" name="Text Placeholder 5">
            <a:extLst>
              <a:ext uri="{FF2B5EF4-FFF2-40B4-BE49-F238E27FC236}">
                <a16:creationId xmlns="" xmlns:a16="http://schemas.microsoft.com/office/drawing/2014/main" id="{3A165006-7E10-4952-BFF9-AC433B67F6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6726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</p:txBody>
      </p:sp>
    </p:spTree>
    <p:extLst>
      <p:ext uri="{BB962C8B-B14F-4D97-AF65-F5344CB8AC3E}">
        <p14:creationId xmlns:p14="http://schemas.microsoft.com/office/powerpoint/2010/main" val="28727010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&#10;&#10;Description automatically generated">
            <a:extLst>
              <a:ext uri="{FF2B5EF4-FFF2-40B4-BE49-F238E27FC236}">
                <a16:creationId xmlns="" xmlns:a16="http://schemas.microsoft.com/office/drawing/2014/main" id="{3FBB4CE0-98D2-4D46-90FB-327A024790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76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87163" y="1503680"/>
            <a:ext cx="7106598" cy="118564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34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chemeClr val="bg1">
                    <a:alpha val="16000"/>
                  </a:schemeClr>
                </a:solidFill>
              </a:rPr>
              <a:t>Copyright © United Utilities Water Limited 2022</a:t>
            </a:r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07482" y="2982657"/>
            <a:ext cx="7086278" cy="1751904"/>
          </a:xfrm>
          <a:prstGeom prst="rect">
            <a:avLst/>
          </a:prstGeom>
        </p:spPr>
        <p:txBody>
          <a:bodyPr lIns="0" tIns="0" rIns="0" bIns="0" anchor="t"/>
          <a:lstStyle>
            <a:lvl1pPr marL="0" indent="0" algn="l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="" xmlns:a16="http://schemas.microsoft.com/office/drawing/2014/main" id="{CA58EE7C-ED03-4F55-9FCC-9E3A526BF53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9150" y="2689326"/>
            <a:ext cx="4177504" cy="4305648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="" xmlns:a16="http://schemas.microsoft.com/office/drawing/2014/main" id="{32A593BE-8D00-4A6C-A105-EA93F0D933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9469561" y="3643758"/>
            <a:ext cx="1971028" cy="1632568"/>
          </a:xfrm>
          <a:prstGeom prst="rect">
            <a:avLst/>
          </a:prstGeom>
        </p:spPr>
      </p:pic>
      <p:pic>
        <p:nvPicPr>
          <p:cNvPr id="45" name="Graphic 44">
            <a:extLst>
              <a:ext uri="{FF2B5EF4-FFF2-40B4-BE49-F238E27FC236}">
                <a16:creationId xmlns="" xmlns:a16="http://schemas.microsoft.com/office/drawing/2014/main" id="{C0DB6A67-7AD9-4401-9641-A63E6F558A8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53087" y="4135656"/>
            <a:ext cx="424295" cy="60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837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Right 2">
            <a:extLst>
              <a:ext uri="{FF2B5EF4-FFF2-40B4-BE49-F238E27FC236}">
                <a16:creationId xmlns="" xmlns:a16="http://schemas.microsoft.com/office/drawing/2014/main" id="{15C31E0B-0D30-4AEF-88C6-8A58C64DBBB5}"/>
              </a:ext>
            </a:extLst>
          </p:cNvPr>
          <p:cNvSpPr/>
          <p:nvPr userDrawn="1"/>
        </p:nvSpPr>
        <p:spPr>
          <a:xfrm>
            <a:off x="0" y="1700664"/>
            <a:ext cx="6990080" cy="3454400"/>
          </a:xfrm>
          <a:prstGeom prst="rightArrow">
            <a:avLst>
              <a:gd name="adj1" fmla="val 100000"/>
              <a:gd name="adj2" fmla="val 244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2288638"/>
            <a:ext cx="4653279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="" xmlns:a16="http://schemas.microsoft.com/office/drawing/2014/main" id="{DB0742B1-A627-4893-87C2-492C2B66B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3026761"/>
            <a:ext cx="4653279" cy="14983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7052DD47-3E35-466F-8244-456324C76784}"/>
              </a:ext>
            </a:extLst>
          </p:cNvPr>
          <p:cNvGrpSpPr/>
          <p:nvPr userDrawn="1"/>
        </p:nvGrpSpPr>
        <p:grpSpPr>
          <a:xfrm>
            <a:off x="5831147" y="2600069"/>
            <a:ext cx="5726097" cy="1645430"/>
            <a:chOff x="5831147" y="2697725"/>
            <a:chExt cx="5726097" cy="1645430"/>
          </a:xfrm>
        </p:grpSpPr>
        <p:sp>
          <p:nvSpPr>
            <p:cNvPr id="7" name="Hexagon 6">
              <a:extLst>
                <a:ext uri="{FF2B5EF4-FFF2-40B4-BE49-F238E27FC236}">
                  <a16:creationId xmlns="" xmlns:a16="http://schemas.microsoft.com/office/drawing/2014/main" id="{FFB54227-E35B-4813-8FA2-DC0687184A26}"/>
                </a:ext>
              </a:extLst>
            </p:cNvPr>
            <p:cNvSpPr/>
            <p:nvPr userDrawn="1"/>
          </p:nvSpPr>
          <p:spPr>
            <a:xfrm>
              <a:off x="5831147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8" name="Hexagon 7">
              <a:extLst>
                <a:ext uri="{FF2B5EF4-FFF2-40B4-BE49-F238E27FC236}">
                  <a16:creationId xmlns="" xmlns:a16="http://schemas.microsoft.com/office/drawing/2014/main" id="{2A0CA8AB-1671-4DD1-9154-EA62B162A465}"/>
                </a:ext>
              </a:extLst>
            </p:cNvPr>
            <p:cNvSpPr/>
            <p:nvPr userDrawn="1"/>
          </p:nvSpPr>
          <p:spPr>
            <a:xfrm>
              <a:off x="7739846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9" name="Hexagon 8">
              <a:extLst>
                <a:ext uri="{FF2B5EF4-FFF2-40B4-BE49-F238E27FC236}">
                  <a16:creationId xmlns="" xmlns:a16="http://schemas.microsoft.com/office/drawing/2014/main" id="{639165BE-9D5F-44E5-A10B-41B0463157AC}"/>
                </a:ext>
              </a:extLst>
            </p:cNvPr>
            <p:cNvSpPr/>
            <p:nvPr userDrawn="1"/>
          </p:nvSpPr>
          <p:spPr>
            <a:xfrm>
              <a:off x="9648545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pic>
          <p:nvPicPr>
            <p:cNvPr id="12" name="Graphic 11">
              <a:extLst>
                <a:ext uri="{FF2B5EF4-FFF2-40B4-BE49-F238E27FC236}">
                  <a16:creationId xmlns="" xmlns:a16="http://schemas.microsoft.com/office/drawing/2014/main" id="{8FFC019D-A9EA-4514-BC25-9FD22CB1BD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36182" y="3153728"/>
              <a:ext cx="513398" cy="733425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="" xmlns:a16="http://schemas.microsoft.com/office/drawing/2014/main" id="{A2B20514-706C-4EF1-A68A-B660E9E0AAF9}"/>
                </a:ext>
              </a:extLst>
            </p:cNvPr>
            <p:cNvGrpSpPr/>
            <p:nvPr userDrawn="1"/>
          </p:nvGrpSpPr>
          <p:grpSpPr>
            <a:xfrm>
              <a:off x="6093476" y="3302493"/>
              <a:ext cx="1360628" cy="448434"/>
              <a:chOff x="5851743" y="3236595"/>
              <a:chExt cx="1452551" cy="478730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="" xmlns:a16="http://schemas.microsoft.com/office/drawing/2014/main" id="{6056861D-C90B-4ED2-8BB3-FD4DA0D02E4C}"/>
                  </a:ext>
                </a:extLst>
              </p:cNvPr>
              <p:cNvSpPr/>
              <p:nvPr/>
            </p:nvSpPr>
            <p:spPr>
              <a:xfrm>
                <a:off x="6080237" y="3246887"/>
                <a:ext cx="249957" cy="322455"/>
              </a:xfrm>
              <a:custGeom>
                <a:avLst/>
                <a:gdLst>
                  <a:gd name="connsiteX0" fmla="*/ 39994 w 249957"/>
                  <a:gd name="connsiteY0" fmla="*/ 314152 h 322455"/>
                  <a:gd name="connsiteX1" fmla="*/ 249958 w 249957"/>
                  <a:gd name="connsiteY1" fmla="*/ 93731 h 322455"/>
                  <a:gd name="connsiteX2" fmla="*/ 52860 w 249957"/>
                  <a:gd name="connsiteY2" fmla="*/ 0 h 322455"/>
                  <a:gd name="connsiteX3" fmla="*/ 39994 w 249957"/>
                  <a:gd name="connsiteY3" fmla="*/ 314152 h 322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957" h="322455">
                    <a:moveTo>
                      <a:pt x="39994" y="314152"/>
                    </a:moveTo>
                    <a:cubicBezTo>
                      <a:pt x="138981" y="362933"/>
                      <a:pt x="217163" y="184724"/>
                      <a:pt x="249958" y="93731"/>
                    </a:cubicBezTo>
                    <a:cubicBezTo>
                      <a:pt x="199588" y="59732"/>
                      <a:pt x="127921" y="19655"/>
                      <a:pt x="52860" y="0"/>
                    </a:cubicBezTo>
                    <a:cubicBezTo>
                      <a:pt x="30139" y="57761"/>
                      <a:pt x="-46072" y="272050"/>
                      <a:pt x="39994" y="31415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="" xmlns:a16="http://schemas.microsoft.com/office/drawing/2014/main" id="{46CF8035-28FD-4E8C-9038-96D988689DCA}"/>
                  </a:ext>
                </a:extLst>
              </p:cNvPr>
              <p:cNvSpPr/>
              <p:nvPr/>
            </p:nvSpPr>
            <p:spPr>
              <a:xfrm>
                <a:off x="5851743" y="3236595"/>
                <a:ext cx="564050" cy="478730"/>
              </a:xfrm>
              <a:custGeom>
                <a:avLst/>
                <a:gdLst>
                  <a:gd name="connsiteX0" fmla="*/ 540756 w 564050"/>
                  <a:gd name="connsiteY0" fmla="*/ 151546 h 478730"/>
                  <a:gd name="connsiteX1" fmla="*/ 499092 w 564050"/>
                  <a:gd name="connsiteY1" fmla="*/ 118423 h 478730"/>
                  <a:gd name="connsiteX2" fmla="*/ 246150 w 564050"/>
                  <a:gd name="connsiteY2" fmla="*/ 402024 h 478730"/>
                  <a:gd name="connsiteX3" fmla="*/ 159591 w 564050"/>
                  <a:gd name="connsiteY3" fmla="*/ 0 h 478730"/>
                  <a:gd name="connsiteX4" fmla="*/ 93892 w 564050"/>
                  <a:gd name="connsiteY4" fmla="*/ 19108 h 478730"/>
                  <a:gd name="connsiteX5" fmla="*/ 229670 w 564050"/>
                  <a:gd name="connsiteY5" fmla="*/ 478619 h 478730"/>
                  <a:gd name="connsiteX6" fmla="*/ 540756 w 564050"/>
                  <a:gd name="connsiteY6" fmla="*/ 151546 h 4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4050" h="478730">
                    <a:moveTo>
                      <a:pt x="540756" y="151546"/>
                    </a:moveTo>
                    <a:cubicBezTo>
                      <a:pt x="527476" y="139762"/>
                      <a:pt x="513568" y="128704"/>
                      <a:pt x="499092" y="118423"/>
                    </a:cubicBezTo>
                    <a:cubicBezTo>
                      <a:pt x="466242" y="232192"/>
                      <a:pt x="390031" y="415000"/>
                      <a:pt x="246150" y="402024"/>
                    </a:cubicBezTo>
                    <a:cubicBezTo>
                      <a:pt x="14779" y="381001"/>
                      <a:pt x="137089" y="55735"/>
                      <a:pt x="159591" y="0"/>
                    </a:cubicBezTo>
                    <a:cubicBezTo>
                      <a:pt x="136808" y="2804"/>
                      <a:pt x="114625" y="9255"/>
                      <a:pt x="93892" y="19108"/>
                    </a:cubicBezTo>
                    <a:cubicBezTo>
                      <a:pt x="-114758" y="118642"/>
                      <a:pt x="66517" y="473034"/>
                      <a:pt x="229670" y="478619"/>
                    </a:cubicBezTo>
                    <a:cubicBezTo>
                      <a:pt x="409358" y="484696"/>
                      <a:pt x="638265" y="240897"/>
                      <a:pt x="540756" y="151546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="" xmlns:a16="http://schemas.microsoft.com/office/drawing/2014/main" id="{483D5C08-57B6-419F-8101-DB6C2A790ED8}"/>
                  </a:ext>
                </a:extLst>
              </p:cNvPr>
              <p:cNvSpPr/>
              <p:nvPr/>
            </p:nvSpPr>
            <p:spPr>
              <a:xfrm>
                <a:off x="7000655" y="3307878"/>
                <a:ext cx="133259" cy="158908"/>
              </a:xfrm>
              <a:custGeom>
                <a:avLst/>
                <a:gdLst>
                  <a:gd name="connsiteX0" fmla="*/ 85464 w 133259"/>
                  <a:gd name="connsiteY0" fmla="*/ 23214 h 158908"/>
                  <a:gd name="connsiteX1" fmla="*/ 99552 w 133259"/>
                  <a:gd name="connsiteY1" fmla="*/ 33852 h 158908"/>
                  <a:gd name="connsiteX2" fmla="*/ 99589 w 133259"/>
                  <a:gd name="connsiteY2" fmla="*/ 37011 h 158908"/>
                  <a:gd name="connsiteX3" fmla="*/ 41774 w 133259"/>
                  <a:gd name="connsiteY3" fmla="*/ 77142 h 158908"/>
                  <a:gd name="connsiteX4" fmla="*/ 85573 w 133259"/>
                  <a:gd name="connsiteY4" fmla="*/ 23214 h 158908"/>
                  <a:gd name="connsiteX5" fmla="*/ 133260 w 133259"/>
                  <a:gd name="connsiteY5" fmla="*/ 31645 h 158908"/>
                  <a:gd name="connsiteX6" fmla="*/ 94935 w 133259"/>
                  <a:gd name="connsiteY6" fmla="*/ 0 h 158908"/>
                  <a:gd name="connsiteX7" fmla="*/ 0 w 133259"/>
                  <a:gd name="connsiteY7" fmla="*/ 102984 h 158908"/>
                  <a:gd name="connsiteX8" fmla="*/ 48727 w 133259"/>
                  <a:gd name="connsiteY8" fmla="*/ 158883 h 158908"/>
                  <a:gd name="connsiteX9" fmla="*/ 114043 w 133259"/>
                  <a:gd name="connsiteY9" fmla="*/ 138023 h 158908"/>
                  <a:gd name="connsiteX10" fmla="*/ 107583 w 133259"/>
                  <a:gd name="connsiteY10" fmla="*/ 124391 h 158908"/>
                  <a:gd name="connsiteX11" fmla="*/ 64440 w 133259"/>
                  <a:gd name="connsiteY11" fmla="*/ 133862 h 158908"/>
                  <a:gd name="connsiteX12" fmla="*/ 39420 w 133259"/>
                  <a:gd name="connsiteY12" fmla="*/ 93074 h 158908"/>
                  <a:gd name="connsiteX13" fmla="*/ 133096 w 133259"/>
                  <a:gd name="connsiteY13" fmla="*/ 31645 h 1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259" h="158908">
                    <a:moveTo>
                      <a:pt x="85464" y="23214"/>
                    </a:moveTo>
                    <a:cubicBezTo>
                      <a:pt x="92292" y="22261"/>
                      <a:pt x="98599" y="27024"/>
                      <a:pt x="99552" y="33852"/>
                    </a:cubicBezTo>
                    <a:cubicBezTo>
                      <a:pt x="99698" y="34899"/>
                      <a:pt x="99710" y="35960"/>
                      <a:pt x="99589" y="37011"/>
                    </a:cubicBezTo>
                    <a:cubicBezTo>
                      <a:pt x="99589" y="55844"/>
                      <a:pt x="71886" y="72433"/>
                      <a:pt x="41774" y="77142"/>
                    </a:cubicBezTo>
                    <a:cubicBezTo>
                      <a:pt x="50369" y="44292"/>
                      <a:pt x="65973" y="23214"/>
                      <a:pt x="85573" y="23214"/>
                    </a:cubicBezTo>
                    <a:moveTo>
                      <a:pt x="133260" y="31645"/>
                    </a:moveTo>
                    <a:cubicBezTo>
                      <a:pt x="133260" y="9745"/>
                      <a:pt x="111908" y="0"/>
                      <a:pt x="94935" y="0"/>
                    </a:cubicBezTo>
                    <a:cubicBezTo>
                      <a:pt x="35313" y="0"/>
                      <a:pt x="0" y="60553"/>
                      <a:pt x="0" y="102984"/>
                    </a:cubicBezTo>
                    <a:cubicBezTo>
                      <a:pt x="0" y="139392"/>
                      <a:pt x="20421" y="158883"/>
                      <a:pt x="48727" y="158883"/>
                    </a:cubicBezTo>
                    <a:cubicBezTo>
                      <a:pt x="72215" y="159400"/>
                      <a:pt x="95203" y="152058"/>
                      <a:pt x="114043" y="138023"/>
                    </a:cubicBezTo>
                    <a:lnTo>
                      <a:pt x="107583" y="124391"/>
                    </a:lnTo>
                    <a:cubicBezTo>
                      <a:pt x="94835" y="132696"/>
                      <a:pt x="79495" y="136064"/>
                      <a:pt x="64440" y="133862"/>
                    </a:cubicBezTo>
                    <a:cubicBezTo>
                      <a:pt x="38763" y="127621"/>
                      <a:pt x="38270" y="106487"/>
                      <a:pt x="39420" y="93074"/>
                    </a:cubicBezTo>
                    <a:cubicBezTo>
                      <a:pt x="72871" y="91760"/>
                      <a:pt x="133096" y="75226"/>
                      <a:pt x="133096" y="31645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="" xmlns:a16="http://schemas.microsoft.com/office/drawing/2014/main" id="{8934BB35-D11F-482C-91AC-5077CEA2BE4B}"/>
                  </a:ext>
                </a:extLst>
              </p:cNvPr>
              <p:cNvSpPr/>
              <p:nvPr/>
            </p:nvSpPr>
            <p:spPr>
              <a:xfrm>
                <a:off x="6907372" y="3265940"/>
                <a:ext cx="93392" cy="200601"/>
              </a:xfrm>
              <a:custGeom>
                <a:avLst/>
                <a:gdLst>
                  <a:gd name="connsiteX0" fmla="*/ 69959 w 93392"/>
                  <a:gd name="connsiteY0" fmla="*/ 175472 h 200601"/>
                  <a:gd name="connsiteX1" fmla="*/ 76256 w 93392"/>
                  <a:gd name="connsiteY1" fmla="*/ 189652 h 200601"/>
                  <a:gd name="connsiteX2" fmla="*/ 35577 w 93392"/>
                  <a:gd name="connsiteY2" fmla="*/ 200602 h 200601"/>
                  <a:gd name="connsiteX3" fmla="*/ 1961 w 93392"/>
                  <a:gd name="connsiteY3" fmla="*/ 146564 h 200601"/>
                  <a:gd name="connsiteX4" fmla="*/ 29335 w 93392"/>
                  <a:gd name="connsiteY4" fmla="*/ 0 h 200601"/>
                  <a:gd name="connsiteX5" fmla="*/ 65580 w 93392"/>
                  <a:gd name="connsiteY5" fmla="*/ 0 h 200601"/>
                  <a:gd name="connsiteX6" fmla="*/ 57148 w 93392"/>
                  <a:gd name="connsiteY6" fmla="*/ 45278 h 200601"/>
                  <a:gd name="connsiteX7" fmla="*/ 93392 w 93392"/>
                  <a:gd name="connsiteY7" fmla="*/ 45278 h 200601"/>
                  <a:gd name="connsiteX8" fmla="*/ 89779 w 93392"/>
                  <a:gd name="connsiteY8" fmla="*/ 66356 h 200601"/>
                  <a:gd name="connsiteX9" fmla="*/ 53261 w 93392"/>
                  <a:gd name="connsiteY9" fmla="*/ 66356 h 200601"/>
                  <a:gd name="connsiteX10" fmla="*/ 39026 w 93392"/>
                  <a:gd name="connsiteY10" fmla="*/ 141965 h 200601"/>
                  <a:gd name="connsiteX11" fmla="*/ 69959 w 93392"/>
                  <a:gd name="connsiteY11" fmla="*/ 175472 h 200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392" h="200601">
                    <a:moveTo>
                      <a:pt x="69959" y="175472"/>
                    </a:moveTo>
                    <a:lnTo>
                      <a:pt x="76256" y="189652"/>
                    </a:lnTo>
                    <a:cubicBezTo>
                      <a:pt x="63898" y="196822"/>
                      <a:pt x="49864" y="200599"/>
                      <a:pt x="35577" y="200602"/>
                    </a:cubicBezTo>
                    <a:cubicBezTo>
                      <a:pt x="9078" y="200602"/>
                      <a:pt x="-5540" y="187133"/>
                      <a:pt x="1961" y="146564"/>
                    </a:cubicBezTo>
                    <a:lnTo>
                      <a:pt x="29335" y="0"/>
                    </a:lnTo>
                    <a:lnTo>
                      <a:pt x="65580" y="0"/>
                    </a:lnTo>
                    <a:lnTo>
                      <a:pt x="57148" y="45278"/>
                    </a:lnTo>
                    <a:lnTo>
                      <a:pt x="93392" y="45278"/>
                    </a:lnTo>
                    <a:lnTo>
                      <a:pt x="89779" y="66356"/>
                    </a:lnTo>
                    <a:lnTo>
                      <a:pt x="53261" y="66356"/>
                    </a:lnTo>
                    <a:lnTo>
                      <a:pt x="39026" y="141965"/>
                    </a:lnTo>
                    <a:cubicBezTo>
                      <a:pt x="30923" y="185217"/>
                      <a:pt x="52604" y="181658"/>
                      <a:pt x="69959" y="17547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="" xmlns:a16="http://schemas.microsoft.com/office/drawing/2014/main" id="{8FABBC5F-2082-412F-9EAB-2E21A310917A}"/>
                  </a:ext>
                </a:extLst>
              </p:cNvPr>
              <p:cNvSpPr/>
              <p:nvPr/>
            </p:nvSpPr>
            <p:spPr>
              <a:xfrm>
                <a:off x="7142565" y="3266159"/>
                <a:ext cx="161729" cy="200492"/>
              </a:xfrm>
              <a:custGeom>
                <a:avLst/>
                <a:gdLst>
                  <a:gd name="connsiteX0" fmla="*/ 84588 w 161729"/>
                  <a:gd name="connsiteY0" fmla="*/ 63509 h 200492"/>
                  <a:gd name="connsiteX1" fmla="*/ 110977 w 161729"/>
                  <a:gd name="connsiteY1" fmla="*/ 77744 h 200492"/>
                  <a:gd name="connsiteX2" fmla="*/ 56939 w 161729"/>
                  <a:gd name="connsiteY2" fmla="*/ 180290 h 200492"/>
                  <a:gd name="connsiteX3" fmla="*/ 36354 w 161729"/>
                  <a:gd name="connsiteY3" fmla="*/ 144429 h 200492"/>
                  <a:gd name="connsiteX4" fmla="*/ 84588 w 161729"/>
                  <a:gd name="connsiteY4" fmla="*/ 63345 h 200492"/>
                  <a:gd name="connsiteX5" fmla="*/ 161730 w 161729"/>
                  <a:gd name="connsiteY5" fmla="*/ 0 h 200492"/>
                  <a:gd name="connsiteX6" fmla="*/ 125431 w 161729"/>
                  <a:gd name="connsiteY6" fmla="*/ 0 h 200492"/>
                  <a:gd name="connsiteX7" fmla="*/ 115247 w 161729"/>
                  <a:gd name="connsiteY7" fmla="*/ 55735 h 200492"/>
                  <a:gd name="connsiteX8" fmla="*/ 80536 w 161729"/>
                  <a:gd name="connsiteY8" fmla="*/ 41610 h 200492"/>
                  <a:gd name="connsiteX9" fmla="*/ 0 w 161729"/>
                  <a:gd name="connsiteY9" fmla="*/ 144155 h 200492"/>
                  <a:gd name="connsiteX10" fmla="*/ 52121 w 161729"/>
                  <a:gd name="connsiteY10" fmla="*/ 200492 h 200492"/>
                  <a:gd name="connsiteX11" fmla="*/ 142786 w 161729"/>
                  <a:gd name="connsiteY11" fmla="*/ 101943 h 20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1729" h="200492">
                    <a:moveTo>
                      <a:pt x="84588" y="63509"/>
                    </a:moveTo>
                    <a:cubicBezTo>
                      <a:pt x="95414" y="62673"/>
                      <a:pt x="105730" y="68238"/>
                      <a:pt x="110977" y="77744"/>
                    </a:cubicBezTo>
                    <a:cubicBezTo>
                      <a:pt x="96030" y="158828"/>
                      <a:pt x="78127" y="180290"/>
                      <a:pt x="56939" y="180290"/>
                    </a:cubicBezTo>
                    <a:cubicBezTo>
                      <a:pt x="43745" y="180290"/>
                      <a:pt x="36354" y="166164"/>
                      <a:pt x="36354" y="144429"/>
                    </a:cubicBezTo>
                    <a:cubicBezTo>
                      <a:pt x="36354" y="102984"/>
                      <a:pt x="62579" y="63345"/>
                      <a:pt x="84588" y="63345"/>
                    </a:cubicBezTo>
                    <a:moveTo>
                      <a:pt x="161730" y="0"/>
                    </a:moveTo>
                    <a:lnTo>
                      <a:pt x="125431" y="0"/>
                    </a:lnTo>
                    <a:lnTo>
                      <a:pt x="115247" y="55735"/>
                    </a:lnTo>
                    <a:cubicBezTo>
                      <a:pt x="106156" y="46387"/>
                      <a:pt x="93571" y="41266"/>
                      <a:pt x="80536" y="41610"/>
                    </a:cubicBezTo>
                    <a:cubicBezTo>
                      <a:pt x="33288" y="41610"/>
                      <a:pt x="0" y="93731"/>
                      <a:pt x="0" y="144155"/>
                    </a:cubicBezTo>
                    <a:cubicBezTo>
                      <a:pt x="0" y="174158"/>
                      <a:pt x="21079" y="200492"/>
                      <a:pt x="52121" y="200492"/>
                    </a:cubicBezTo>
                    <a:cubicBezTo>
                      <a:pt x="118587" y="200492"/>
                      <a:pt x="134629" y="146455"/>
                      <a:pt x="142786" y="1019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="" xmlns:a16="http://schemas.microsoft.com/office/drawing/2014/main" id="{B7312AE0-F451-480B-AA2D-080FA8EE4AC7}"/>
                  </a:ext>
                </a:extLst>
              </p:cNvPr>
              <p:cNvSpPr/>
              <p:nvPr/>
            </p:nvSpPr>
            <p:spPr>
              <a:xfrm>
                <a:off x="6822555" y="3311492"/>
                <a:ext cx="64330" cy="151819"/>
              </a:xfrm>
              <a:custGeom>
                <a:avLst/>
                <a:gdLst>
                  <a:gd name="connsiteX0" fmla="*/ 64330 w 64330"/>
                  <a:gd name="connsiteY0" fmla="*/ 0 h 151819"/>
                  <a:gd name="connsiteX1" fmla="*/ 36244 w 64330"/>
                  <a:gd name="connsiteY1" fmla="*/ 151820 h 151819"/>
                  <a:gd name="connsiteX2" fmla="*/ 0 w 64330"/>
                  <a:gd name="connsiteY2" fmla="*/ 151820 h 151819"/>
                  <a:gd name="connsiteX3" fmla="*/ 28086 w 64330"/>
                  <a:gd name="connsiteY3" fmla="*/ 0 h 151819"/>
                  <a:gd name="connsiteX4" fmla="*/ 64330 w 64330"/>
                  <a:gd name="connsiteY4" fmla="*/ 0 h 15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30" h="151819">
                    <a:moveTo>
                      <a:pt x="64330" y="0"/>
                    </a:moveTo>
                    <a:lnTo>
                      <a:pt x="36244" y="151820"/>
                    </a:lnTo>
                    <a:lnTo>
                      <a:pt x="0" y="151820"/>
                    </a:lnTo>
                    <a:lnTo>
                      <a:pt x="28086" y="0"/>
                    </a:lnTo>
                    <a:lnTo>
                      <a:pt x="64330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="" xmlns:a16="http://schemas.microsoft.com/office/drawing/2014/main" id="{5204D0ED-84EC-4DA1-94D9-3487AFB64059}"/>
                  </a:ext>
                </a:extLst>
              </p:cNvPr>
              <p:cNvSpPr/>
              <p:nvPr/>
            </p:nvSpPr>
            <p:spPr>
              <a:xfrm>
                <a:off x="6856774" y="3250556"/>
                <a:ext cx="39528" cy="39529"/>
              </a:xfrm>
              <a:custGeom>
                <a:avLst/>
                <a:gdLst>
                  <a:gd name="connsiteX0" fmla="*/ 19764 w 39528"/>
                  <a:gd name="connsiteY0" fmla="*/ 0 h 39529"/>
                  <a:gd name="connsiteX1" fmla="*/ 0 w 39528"/>
                  <a:gd name="connsiteY1" fmla="*/ 19765 h 39529"/>
                  <a:gd name="connsiteX2" fmla="*/ 19765 w 39528"/>
                  <a:gd name="connsiteY2" fmla="*/ 39529 h 39529"/>
                  <a:gd name="connsiteX3" fmla="*/ 39529 w 39528"/>
                  <a:gd name="connsiteY3" fmla="*/ 19874 h 39529"/>
                  <a:gd name="connsiteX4" fmla="*/ 19764 w 39528"/>
                  <a:gd name="connsiteY4" fmla="*/ 0 h 3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" h="39529">
                    <a:moveTo>
                      <a:pt x="19764" y="0"/>
                    </a:moveTo>
                    <a:cubicBezTo>
                      <a:pt x="8849" y="0"/>
                      <a:pt x="0" y="8849"/>
                      <a:pt x="0" y="19765"/>
                    </a:cubicBezTo>
                    <a:cubicBezTo>
                      <a:pt x="0" y="30680"/>
                      <a:pt x="8849" y="39529"/>
                      <a:pt x="19765" y="39529"/>
                    </a:cubicBezTo>
                    <a:cubicBezTo>
                      <a:pt x="30638" y="39529"/>
                      <a:pt x="39469" y="30747"/>
                      <a:pt x="39529" y="19874"/>
                    </a:cubicBezTo>
                    <a:cubicBezTo>
                      <a:pt x="39559" y="8928"/>
                      <a:pt x="30710" y="30"/>
                      <a:pt x="19764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="" xmlns:a16="http://schemas.microsoft.com/office/drawing/2014/main" id="{26BEAC28-0FB1-4290-9B53-BA025410CB3B}"/>
                  </a:ext>
                </a:extLst>
              </p:cNvPr>
              <p:cNvSpPr/>
              <p:nvPr/>
            </p:nvSpPr>
            <p:spPr>
              <a:xfrm>
                <a:off x="6652996" y="3307550"/>
                <a:ext cx="149190" cy="155488"/>
              </a:xfrm>
              <a:custGeom>
                <a:avLst/>
                <a:gdLst>
                  <a:gd name="connsiteX0" fmla="*/ 95428 w 149190"/>
                  <a:gd name="connsiteY0" fmla="*/ 219 h 155488"/>
                  <a:gd name="connsiteX1" fmla="*/ 13304 w 149190"/>
                  <a:gd name="connsiteY1" fmla="*/ 84205 h 155488"/>
                  <a:gd name="connsiteX2" fmla="*/ 0 w 149190"/>
                  <a:gd name="connsiteY2" fmla="*/ 155379 h 155488"/>
                  <a:gd name="connsiteX3" fmla="*/ 36299 w 149190"/>
                  <a:gd name="connsiteY3" fmla="*/ 155379 h 155488"/>
                  <a:gd name="connsiteX4" fmla="*/ 52286 w 149190"/>
                  <a:gd name="connsiteY4" fmla="*/ 67780 h 155488"/>
                  <a:gd name="connsiteX5" fmla="*/ 90063 w 149190"/>
                  <a:gd name="connsiteY5" fmla="*/ 24856 h 155488"/>
                  <a:gd name="connsiteX6" fmla="*/ 113167 w 149190"/>
                  <a:gd name="connsiteY6" fmla="*/ 67889 h 155488"/>
                  <a:gd name="connsiteX7" fmla="*/ 97125 w 149190"/>
                  <a:gd name="connsiteY7" fmla="*/ 155488 h 155488"/>
                  <a:gd name="connsiteX8" fmla="*/ 133260 w 149190"/>
                  <a:gd name="connsiteY8" fmla="*/ 155488 h 155488"/>
                  <a:gd name="connsiteX9" fmla="*/ 146455 w 149190"/>
                  <a:gd name="connsiteY9" fmla="*/ 84314 h 155488"/>
                  <a:gd name="connsiteX10" fmla="*/ 95592 w 149190"/>
                  <a:gd name="connsiteY10" fmla="*/ 0 h 15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190" h="155488">
                    <a:moveTo>
                      <a:pt x="95428" y="219"/>
                    </a:moveTo>
                    <a:cubicBezTo>
                      <a:pt x="47030" y="219"/>
                      <a:pt x="24254" y="25404"/>
                      <a:pt x="13304" y="84205"/>
                    </a:cubicBezTo>
                    <a:lnTo>
                      <a:pt x="0" y="155379"/>
                    </a:lnTo>
                    <a:lnTo>
                      <a:pt x="36299" y="155379"/>
                    </a:lnTo>
                    <a:lnTo>
                      <a:pt x="52286" y="67780"/>
                    </a:lnTo>
                    <a:cubicBezTo>
                      <a:pt x="57761" y="40405"/>
                      <a:pt x="69477" y="24856"/>
                      <a:pt x="90063" y="24856"/>
                    </a:cubicBezTo>
                    <a:cubicBezTo>
                      <a:pt x="111962" y="24856"/>
                      <a:pt x="117437" y="45770"/>
                      <a:pt x="113167" y="67889"/>
                    </a:cubicBezTo>
                    <a:lnTo>
                      <a:pt x="97125" y="155488"/>
                    </a:lnTo>
                    <a:lnTo>
                      <a:pt x="133260" y="155488"/>
                    </a:lnTo>
                    <a:lnTo>
                      <a:pt x="146455" y="84314"/>
                    </a:lnTo>
                    <a:cubicBezTo>
                      <a:pt x="155269" y="37120"/>
                      <a:pt x="143936" y="0"/>
                      <a:pt x="95592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="" xmlns:a16="http://schemas.microsoft.com/office/drawing/2014/main" id="{2C30E0F2-40AA-4F40-85B6-C84D5A5B1E13}"/>
                  </a:ext>
                </a:extLst>
              </p:cNvPr>
              <p:cNvSpPr/>
              <p:nvPr/>
            </p:nvSpPr>
            <p:spPr>
              <a:xfrm>
                <a:off x="6476996" y="3266159"/>
                <a:ext cx="182460" cy="200382"/>
              </a:xfrm>
              <a:custGeom>
                <a:avLst/>
                <a:gdLst>
                  <a:gd name="connsiteX0" fmla="*/ 138935 w 182460"/>
                  <a:gd name="connsiteY0" fmla="*/ 0 h 200382"/>
                  <a:gd name="connsiteX1" fmla="*/ 117035 w 182460"/>
                  <a:gd name="connsiteY1" fmla="*/ 118642 h 200382"/>
                  <a:gd name="connsiteX2" fmla="*/ 71648 w 182460"/>
                  <a:gd name="connsiteY2" fmla="*/ 170599 h 200382"/>
                  <a:gd name="connsiteX3" fmla="*/ 43452 w 182460"/>
                  <a:gd name="connsiteY3" fmla="*/ 118259 h 200382"/>
                  <a:gd name="connsiteX4" fmla="*/ 65351 w 182460"/>
                  <a:gd name="connsiteY4" fmla="*/ 0 h 200382"/>
                  <a:gd name="connsiteX5" fmla="*/ 21552 w 182460"/>
                  <a:gd name="connsiteY5" fmla="*/ 0 h 200382"/>
                  <a:gd name="connsiteX6" fmla="*/ 3101 w 182460"/>
                  <a:gd name="connsiteY6" fmla="*/ 98549 h 200382"/>
                  <a:gd name="connsiteX7" fmla="*/ 64804 w 182460"/>
                  <a:gd name="connsiteY7" fmla="*/ 200383 h 200382"/>
                  <a:gd name="connsiteX8" fmla="*/ 164229 w 182460"/>
                  <a:gd name="connsiteY8" fmla="*/ 98713 h 200382"/>
                  <a:gd name="connsiteX9" fmla="*/ 182460 w 182460"/>
                  <a:gd name="connsiteY9" fmla="*/ 0 h 200382"/>
                  <a:gd name="connsiteX10" fmla="*/ 138661 w 182460"/>
                  <a:gd name="connsiteY10" fmla="*/ 0 h 200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460" h="200382">
                    <a:moveTo>
                      <a:pt x="138935" y="0"/>
                    </a:moveTo>
                    <a:lnTo>
                      <a:pt x="117035" y="118642"/>
                    </a:lnTo>
                    <a:cubicBezTo>
                      <a:pt x="110574" y="151820"/>
                      <a:pt x="96504" y="170599"/>
                      <a:pt x="71648" y="170599"/>
                    </a:cubicBezTo>
                    <a:cubicBezTo>
                      <a:pt x="45313" y="170599"/>
                      <a:pt x="38470" y="145086"/>
                      <a:pt x="43452" y="118259"/>
                    </a:cubicBezTo>
                    <a:lnTo>
                      <a:pt x="65351" y="0"/>
                    </a:lnTo>
                    <a:lnTo>
                      <a:pt x="21552" y="0"/>
                    </a:lnTo>
                    <a:lnTo>
                      <a:pt x="3101" y="98549"/>
                    </a:lnTo>
                    <a:cubicBezTo>
                      <a:pt x="-6972" y="155652"/>
                      <a:pt x="5948" y="200383"/>
                      <a:pt x="64804" y="200383"/>
                    </a:cubicBezTo>
                    <a:cubicBezTo>
                      <a:pt x="123660" y="200383"/>
                      <a:pt x="150980" y="169997"/>
                      <a:pt x="164229" y="98713"/>
                    </a:cubicBezTo>
                    <a:lnTo>
                      <a:pt x="182460" y="0"/>
                    </a:lnTo>
                    <a:lnTo>
                      <a:pt x="138661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="" xmlns:a16="http://schemas.microsoft.com/office/drawing/2014/main" id="{346EB66A-56F1-4366-AAA0-477C7499BDED}"/>
                  </a:ext>
                </a:extLst>
              </p:cNvPr>
              <p:cNvSpPr/>
              <p:nvPr/>
            </p:nvSpPr>
            <p:spPr>
              <a:xfrm>
                <a:off x="7054473" y="3566350"/>
                <a:ext cx="104790" cy="124845"/>
              </a:xfrm>
              <a:custGeom>
                <a:avLst/>
                <a:gdLst>
                  <a:gd name="connsiteX0" fmla="*/ 67342 w 104790"/>
                  <a:gd name="connsiteY0" fmla="*/ 18067 h 124845"/>
                  <a:gd name="connsiteX1" fmla="*/ 78292 w 104790"/>
                  <a:gd name="connsiteY1" fmla="*/ 27060 h 124845"/>
                  <a:gd name="connsiteX2" fmla="*/ 78292 w 104790"/>
                  <a:gd name="connsiteY2" fmla="*/ 29017 h 124845"/>
                  <a:gd name="connsiteX3" fmla="*/ 32904 w 104790"/>
                  <a:gd name="connsiteY3" fmla="*/ 60279 h 124845"/>
                  <a:gd name="connsiteX4" fmla="*/ 67396 w 104790"/>
                  <a:gd name="connsiteY4" fmla="*/ 18013 h 124845"/>
                  <a:gd name="connsiteX5" fmla="*/ 104790 w 104790"/>
                  <a:gd name="connsiteY5" fmla="*/ 24692 h 124845"/>
                  <a:gd name="connsiteX6" fmla="*/ 74678 w 104790"/>
                  <a:gd name="connsiteY6" fmla="*/ 0 h 124845"/>
                  <a:gd name="connsiteX7" fmla="*/ 0 w 104790"/>
                  <a:gd name="connsiteY7" fmla="*/ 80701 h 124845"/>
                  <a:gd name="connsiteX8" fmla="*/ 38325 w 104790"/>
                  <a:gd name="connsiteY8" fmla="*/ 124829 h 124845"/>
                  <a:gd name="connsiteX9" fmla="*/ 89679 w 104790"/>
                  <a:gd name="connsiteY9" fmla="*/ 108404 h 124845"/>
                  <a:gd name="connsiteX10" fmla="*/ 84697 w 104790"/>
                  <a:gd name="connsiteY10" fmla="*/ 97454 h 124845"/>
                  <a:gd name="connsiteX11" fmla="*/ 50753 w 104790"/>
                  <a:gd name="connsiteY11" fmla="*/ 104845 h 124845"/>
                  <a:gd name="connsiteX12" fmla="*/ 31262 w 104790"/>
                  <a:gd name="connsiteY12" fmla="*/ 72871 h 124845"/>
                  <a:gd name="connsiteX13" fmla="*/ 104736 w 104790"/>
                  <a:gd name="connsiteY13" fmla="*/ 24582 h 12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790" h="124845">
                    <a:moveTo>
                      <a:pt x="67342" y="18067"/>
                    </a:moveTo>
                    <a:cubicBezTo>
                      <a:pt x="72849" y="17527"/>
                      <a:pt x="77751" y="21553"/>
                      <a:pt x="78292" y="27060"/>
                    </a:cubicBezTo>
                    <a:cubicBezTo>
                      <a:pt x="78356" y="27711"/>
                      <a:pt x="78356" y="28366"/>
                      <a:pt x="78292" y="29017"/>
                    </a:cubicBezTo>
                    <a:cubicBezTo>
                      <a:pt x="78292" y="43581"/>
                      <a:pt x="56392" y="56720"/>
                      <a:pt x="32904" y="60279"/>
                    </a:cubicBezTo>
                    <a:cubicBezTo>
                      <a:pt x="39748" y="34492"/>
                      <a:pt x="52012" y="18013"/>
                      <a:pt x="67396" y="18013"/>
                    </a:cubicBezTo>
                    <a:moveTo>
                      <a:pt x="104790" y="24692"/>
                    </a:moveTo>
                    <a:cubicBezTo>
                      <a:pt x="104790" y="7501"/>
                      <a:pt x="87982" y="0"/>
                      <a:pt x="74678" y="0"/>
                    </a:cubicBezTo>
                    <a:cubicBezTo>
                      <a:pt x="27922" y="0"/>
                      <a:pt x="0" y="47522"/>
                      <a:pt x="0" y="80701"/>
                    </a:cubicBezTo>
                    <a:cubicBezTo>
                      <a:pt x="0" y="109334"/>
                      <a:pt x="16425" y="124829"/>
                      <a:pt x="38325" y="124829"/>
                    </a:cubicBezTo>
                    <a:cubicBezTo>
                      <a:pt x="56790" y="125196"/>
                      <a:pt x="74854" y="119419"/>
                      <a:pt x="89679" y="108404"/>
                    </a:cubicBezTo>
                    <a:lnTo>
                      <a:pt x="84697" y="97454"/>
                    </a:lnTo>
                    <a:cubicBezTo>
                      <a:pt x="74712" y="104093"/>
                      <a:pt x="62594" y="106732"/>
                      <a:pt x="50753" y="104845"/>
                    </a:cubicBezTo>
                    <a:cubicBezTo>
                      <a:pt x="30550" y="100137"/>
                      <a:pt x="30331" y="83328"/>
                      <a:pt x="31262" y="72871"/>
                    </a:cubicBezTo>
                    <a:cubicBezTo>
                      <a:pt x="57323" y="71886"/>
                      <a:pt x="104736" y="58910"/>
                      <a:pt x="104736" y="2458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="" xmlns:a16="http://schemas.microsoft.com/office/drawing/2014/main" id="{50707180-598C-469D-A496-B56C5D57664B}"/>
                  </a:ext>
                </a:extLst>
              </p:cNvPr>
              <p:cNvSpPr/>
              <p:nvPr/>
            </p:nvSpPr>
            <p:spPr>
              <a:xfrm>
                <a:off x="6915912" y="3533117"/>
                <a:ext cx="73300" cy="157897"/>
              </a:xfrm>
              <a:custGeom>
                <a:avLst/>
                <a:gdLst>
                  <a:gd name="connsiteX0" fmla="*/ 55069 w 73300"/>
                  <a:gd name="connsiteY0" fmla="*/ 138023 h 157897"/>
                  <a:gd name="connsiteX1" fmla="*/ 60051 w 73300"/>
                  <a:gd name="connsiteY1" fmla="*/ 148973 h 157897"/>
                  <a:gd name="connsiteX2" fmla="*/ 28077 w 73300"/>
                  <a:gd name="connsiteY2" fmla="*/ 157897 h 157897"/>
                  <a:gd name="connsiteX3" fmla="*/ 1579 w 73300"/>
                  <a:gd name="connsiteY3" fmla="*/ 115412 h 157897"/>
                  <a:gd name="connsiteX4" fmla="*/ 23150 w 73300"/>
                  <a:gd name="connsiteY4" fmla="*/ 0 h 157897"/>
                  <a:gd name="connsiteX5" fmla="*/ 51620 w 73300"/>
                  <a:gd name="connsiteY5" fmla="*/ 0 h 157897"/>
                  <a:gd name="connsiteX6" fmla="*/ 44885 w 73300"/>
                  <a:gd name="connsiteY6" fmla="*/ 36135 h 157897"/>
                  <a:gd name="connsiteX7" fmla="*/ 73300 w 73300"/>
                  <a:gd name="connsiteY7" fmla="*/ 36135 h 157897"/>
                  <a:gd name="connsiteX8" fmla="*/ 70508 w 73300"/>
                  <a:gd name="connsiteY8" fmla="*/ 52559 h 157897"/>
                  <a:gd name="connsiteX9" fmla="*/ 41984 w 73300"/>
                  <a:gd name="connsiteY9" fmla="*/ 52559 h 157897"/>
                  <a:gd name="connsiteX10" fmla="*/ 31034 w 73300"/>
                  <a:gd name="connsiteY10" fmla="*/ 111743 h 157897"/>
                  <a:gd name="connsiteX11" fmla="*/ 55343 w 73300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300" h="157897">
                    <a:moveTo>
                      <a:pt x="55069" y="138023"/>
                    </a:moveTo>
                    <a:lnTo>
                      <a:pt x="60051" y="148973"/>
                    </a:lnTo>
                    <a:cubicBezTo>
                      <a:pt x="50378" y="154742"/>
                      <a:pt x="39340" y="157823"/>
                      <a:pt x="28077" y="157897"/>
                    </a:cubicBezTo>
                    <a:cubicBezTo>
                      <a:pt x="7273" y="157897"/>
                      <a:pt x="-4444" y="146947"/>
                      <a:pt x="1579" y="115412"/>
                    </a:cubicBezTo>
                    <a:lnTo>
                      <a:pt x="23150" y="0"/>
                    </a:lnTo>
                    <a:lnTo>
                      <a:pt x="51620" y="0"/>
                    </a:lnTo>
                    <a:lnTo>
                      <a:pt x="44885" y="36135"/>
                    </a:lnTo>
                    <a:lnTo>
                      <a:pt x="73300" y="36135"/>
                    </a:lnTo>
                    <a:lnTo>
                      <a:pt x="70508" y="52559"/>
                    </a:lnTo>
                    <a:lnTo>
                      <a:pt x="41984" y="52559"/>
                    </a:lnTo>
                    <a:lnTo>
                      <a:pt x="31034" y="111743"/>
                    </a:lnTo>
                    <a:cubicBezTo>
                      <a:pt x="24847" y="145907"/>
                      <a:pt x="41984" y="142841"/>
                      <a:pt x="55343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="" xmlns:a16="http://schemas.microsoft.com/office/drawing/2014/main" id="{51EEF882-7A59-4643-AA8F-C0E171AE2EF0}"/>
                  </a:ext>
                </a:extLst>
              </p:cNvPr>
              <p:cNvSpPr/>
              <p:nvPr/>
            </p:nvSpPr>
            <p:spPr>
              <a:xfrm>
                <a:off x="6636935" y="3533117"/>
                <a:ext cx="73219" cy="157897"/>
              </a:xfrm>
              <a:custGeom>
                <a:avLst/>
                <a:gdLst>
                  <a:gd name="connsiteX0" fmla="*/ 54988 w 73219"/>
                  <a:gd name="connsiteY0" fmla="*/ 138023 h 157897"/>
                  <a:gd name="connsiteX1" fmla="*/ 59970 w 73219"/>
                  <a:gd name="connsiteY1" fmla="*/ 148973 h 157897"/>
                  <a:gd name="connsiteX2" fmla="*/ 27996 w 73219"/>
                  <a:gd name="connsiteY2" fmla="*/ 157897 h 157897"/>
                  <a:gd name="connsiteX3" fmla="*/ 1552 w 73219"/>
                  <a:gd name="connsiteY3" fmla="*/ 115412 h 157897"/>
                  <a:gd name="connsiteX4" fmla="*/ 22905 w 73219"/>
                  <a:gd name="connsiteY4" fmla="*/ 0 h 157897"/>
                  <a:gd name="connsiteX5" fmla="*/ 51374 w 73219"/>
                  <a:gd name="connsiteY5" fmla="*/ 0 h 157897"/>
                  <a:gd name="connsiteX6" fmla="*/ 44804 w 73219"/>
                  <a:gd name="connsiteY6" fmla="*/ 36135 h 157897"/>
                  <a:gd name="connsiteX7" fmla="*/ 73219 w 73219"/>
                  <a:gd name="connsiteY7" fmla="*/ 36135 h 157897"/>
                  <a:gd name="connsiteX8" fmla="*/ 70317 w 73219"/>
                  <a:gd name="connsiteY8" fmla="*/ 52559 h 157897"/>
                  <a:gd name="connsiteX9" fmla="*/ 41738 w 73219"/>
                  <a:gd name="connsiteY9" fmla="*/ 52559 h 157897"/>
                  <a:gd name="connsiteX10" fmla="*/ 30788 w 73219"/>
                  <a:gd name="connsiteY10" fmla="*/ 111743 h 157897"/>
                  <a:gd name="connsiteX11" fmla="*/ 55042 w 73219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219" h="157897">
                    <a:moveTo>
                      <a:pt x="54988" y="138023"/>
                    </a:moveTo>
                    <a:lnTo>
                      <a:pt x="59970" y="148973"/>
                    </a:lnTo>
                    <a:cubicBezTo>
                      <a:pt x="50300" y="154749"/>
                      <a:pt x="39260" y="157831"/>
                      <a:pt x="27996" y="157897"/>
                    </a:cubicBezTo>
                    <a:cubicBezTo>
                      <a:pt x="7082" y="157897"/>
                      <a:pt x="-4361" y="146947"/>
                      <a:pt x="1552" y="115412"/>
                    </a:cubicBezTo>
                    <a:lnTo>
                      <a:pt x="22905" y="0"/>
                    </a:lnTo>
                    <a:lnTo>
                      <a:pt x="51374" y="0"/>
                    </a:lnTo>
                    <a:lnTo>
                      <a:pt x="44804" y="36135"/>
                    </a:lnTo>
                    <a:lnTo>
                      <a:pt x="73219" y="36135"/>
                    </a:lnTo>
                    <a:lnTo>
                      <a:pt x="70317" y="52559"/>
                    </a:lnTo>
                    <a:lnTo>
                      <a:pt x="41738" y="52559"/>
                    </a:lnTo>
                    <a:lnTo>
                      <a:pt x="30788" y="111743"/>
                    </a:lnTo>
                    <a:cubicBezTo>
                      <a:pt x="24547" y="145907"/>
                      <a:pt x="41355" y="142841"/>
                      <a:pt x="55042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="" xmlns:a16="http://schemas.microsoft.com/office/drawing/2014/main" id="{B95DB522-B5A6-4A7D-A85D-0A257D85E62B}"/>
                  </a:ext>
                </a:extLst>
              </p:cNvPr>
              <p:cNvSpPr/>
              <p:nvPr/>
            </p:nvSpPr>
            <p:spPr>
              <a:xfrm>
                <a:off x="6712071" y="3569471"/>
                <a:ext cx="50533" cy="118860"/>
              </a:xfrm>
              <a:custGeom>
                <a:avLst/>
                <a:gdLst>
                  <a:gd name="connsiteX0" fmla="*/ 50534 w 50533"/>
                  <a:gd name="connsiteY0" fmla="*/ 0 h 118860"/>
                  <a:gd name="connsiteX1" fmla="*/ 28524 w 50533"/>
                  <a:gd name="connsiteY1" fmla="*/ 118861 h 118860"/>
                  <a:gd name="connsiteX2" fmla="*/ 0 w 50533"/>
                  <a:gd name="connsiteY2" fmla="*/ 118861 h 118860"/>
                  <a:gd name="connsiteX3" fmla="*/ 22228 w 50533"/>
                  <a:gd name="connsiteY3" fmla="*/ 0 h 118860"/>
                  <a:gd name="connsiteX4" fmla="*/ 50534 w 5053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33" h="118860">
                    <a:moveTo>
                      <a:pt x="50534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228" y="0"/>
                    </a:lnTo>
                    <a:lnTo>
                      <a:pt x="50534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="" xmlns:a16="http://schemas.microsoft.com/office/drawing/2014/main" id="{AD334128-27CC-49C9-85C3-5DB93770D1D0}"/>
                  </a:ext>
                </a:extLst>
              </p:cNvPr>
              <p:cNvSpPr/>
              <p:nvPr/>
            </p:nvSpPr>
            <p:spPr>
              <a:xfrm>
                <a:off x="6739765" y="3521291"/>
                <a:ext cx="29254" cy="31042"/>
              </a:xfrm>
              <a:custGeom>
                <a:avLst/>
                <a:gdLst>
                  <a:gd name="connsiteX0" fmla="*/ 14627 w 29254"/>
                  <a:gd name="connsiteY0" fmla="*/ 0 h 31042"/>
                  <a:gd name="connsiteX1" fmla="*/ 28 w 29254"/>
                  <a:gd name="connsiteY1" fmla="*/ 16444 h 31042"/>
                  <a:gd name="connsiteX2" fmla="*/ 14627 w 29254"/>
                  <a:gd name="connsiteY2" fmla="*/ 31043 h 31042"/>
                  <a:gd name="connsiteX3" fmla="*/ 29226 w 29254"/>
                  <a:gd name="connsiteY3" fmla="*/ 14599 h 31042"/>
                  <a:gd name="connsiteX4" fmla="*/ 14627 w 29254"/>
                  <a:gd name="connsiteY4" fmla="*/ 0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4" h="31042">
                    <a:moveTo>
                      <a:pt x="14627" y="0"/>
                    </a:moveTo>
                    <a:cubicBezTo>
                      <a:pt x="6055" y="509"/>
                      <a:pt x="-481" y="7871"/>
                      <a:pt x="28" y="16444"/>
                    </a:cubicBezTo>
                    <a:cubicBezTo>
                      <a:pt x="495" y="24305"/>
                      <a:pt x="6766" y="30576"/>
                      <a:pt x="14627" y="31043"/>
                    </a:cubicBezTo>
                    <a:cubicBezTo>
                      <a:pt x="23199" y="30534"/>
                      <a:pt x="29736" y="23171"/>
                      <a:pt x="29226" y="14599"/>
                    </a:cubicBezTo>
                    <a:cubicBezTo>
                      <a:pt x="28759" y="6738"/>
                      <a:pt x="22488" y="467"/>
                      <a:pt x="14627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="" xmlns:a16="http://schemas.microsoft.com/office/drawing/2014/main" id="{001EF51E-4933-4AC5-9583-82375E333052}"/>
                  </a:ext>
                </a:extLst>
              </p:cNvPr>
              <p:cNvSpPr/>
              <p:nvPr/>
            </p:nvSpPr>
            <p:spPr>
              <a:xfrm>
                <a:off x="6847795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524 w 50643"/>
                  <a:gd name="connsiteY1" fmla="*/ 118861 h 118860"/>
                  <a:gd name="connsiteX2" fmla="*/ 0 w 50643"/>
                  <a:gd name="connsiteY2" fmla="*/ 118861 h 118860"/>
                  <a:gd name="connsiteX3" fmla="*/ 2211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11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="" xmlns:a16="http://schemas.microsoft.com/office/drawing/2014/main" id="{8618FA45-5D92-4725-93F8-C47C8E9FDBA7}"/>
                  </a:ext>
                </a:extLst>
              </p:cNvPr>
              <p:cNvSpPr/>
              <p:nvPr/>
            </p:nvSpPr>
            <p:spPr>
              <a:xfrm>
                <a:off x="6874622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8 w 31097"/>
                  <a:gd name="connsiteY4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28" y="7084"/>
                      <a:pt x="24233" y="91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="" xmlns:a16="http://schemas.microsoft.com/office/drawing/2014/main" id="{E94D031C-CB72-4958-B0A5-F23DEEB7AC04}"/>
                  </a:ext>
                </a:extLst>
              </p:cNvPr>
              <p:cNvSpPr/>
              <p:nvPr/>
            </p:nvSpPr>
            <p:spPr>
              <a:xfrm>
                <a:off x="6991566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415 w 50643"/>
                  <a:gd name="connsiteY1" fmla="*/ 118861 h 118860"/>
                  <a:gd name="connsiteX2" fmla="*/ 0 w 50643"/>
                  <a:gd name="connsiteY2" fmla="*/ 118861 h 118860"/>
                  <a:gd name="connsiteX3" fmla="*/ 2200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415" y="118861"/>
                    </a:lnTo>
                    <a:lnTo>
                      <a:pt x="0" y="118861"/>
                    </a:lnTo>
                    <a:lnTo>
                      <a:pt x="2200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="" xmlns:a16="http://schemas.microsoft.com/office/drawing/2014/main" id="{5D5E08ED-E823-4BCB-9F45-D1C4E50E8973}"/>
                  </a:ext>
                </a:extLst>
              </p:cNvPr>
              <p:cNvSpPr/>
              <p:nvPr/>
            </p:nvSpPr>
            <p:spPr>
              <a:xfrm>
                <a:off x="7018339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9 w 31097"/>
                  <a:gd name="connsiteY4" fmla="*/ 0 h 31097"/>
                  <a:gd name="connsiteX5" fmla="*/ 15658 w 31097"/>
                  <a:gd name="connsiteY5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58" y="7072"/>
                      <a:pt x="24246" y="61"/>
                      <a:pt x="15659" y="0"/>
                    </a:cubicBezTo>
                    <a:cubicBezTo>
                      <a:pt x="15659" y="0"/>
                      <a:pt x="15658" y="0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="" xmlns:a16="http://schemas.microsoft.com/office/drawing/2014/main" id="{6088BAC0-429A-42E8-982B-E75DDE2BEA8B}"/>
                  </a:ext>
                </a:extLst>
              </p:cNvPr>
              <p:cNvSpPr/>
              <p:nvPr/>
            </p:nvSpPr>
            <p:spPr>
              <a:xfrm>
                <a:off x="7160140" y="3566391"/>
                <a:ext cx="96139" cy="124678"/>
              </a:xfrm>
              <a:custGeom>
                <a:avLst/>
                <a:gdLst>
                  <a:gd name="connsiteX0" fmla="*/ 96030 w 96139"/>
                  <a:gd name="connsiteY0" fmla="*/ 13592 h 124678"/>
                  <a:gd name="connsiteX1" fmla="*/ 90939 w 96139"/>
                  <a:gd name="connsiteY1" fmla="*/ 24542 h 124678"/>
                  <a:gd name="connsiteX2" fmla="*/ 90939 w 96139"/>
                  <a:gd name="connsiteY2" fmla="*/ 24542 h 124678"/>
                  <a:gd name="connsiteX3" fmla="*/ 48070 w 96139"/>
                  <a:gd name="connsiteY3" fmla="*/ 30017 h 124678"/>
                  <a:gd name="connsiteX4" fmla="*/ 89187 w 96139"/>
                  <a:gd name="connsiteY4" fmla="*/ 87558 h 124678"/>
                  <a:gd name="connsiteX5" fmla="*/ 41062 w 96139"/>
                  <a:gd name="connsiteY5" fmla="*/ 124678 h 124678"/>
                  <a:gd name="connsiteX6" fmla="*/ 0 w 96139"/>
                  <a:gd name="connsiteY6" fmla="*/ 108254 h 124678"/>
                  <a:gd name="connsiteX7" fmla="*/ 4927 w 96139"/>
                  <a:gd name="connsiteY7" fmla="*/ 97304 h 124678"/>
                  <a:gd name="connsiteX8" fmla="*/ 55899 w 96139"/>
                  <a:gd name="connsiteY8" fmla="*/ 91829 h 124678"/>
                  <a:gd name="connsiteX9" fmla="*/ 14782 w 96139"/>
                  <a:gd name="connsiteY9" fmla="*/ 38339 h 124678"/>
                  <a:gd name="connsiteX10" fmla="*/ 55461 w 96139"/>
                  <a:gd name="connsiteY10" fmla="*/ 14 h 124678"/>
                  <a:gd name="connsiteX11" fmla="*/ 96140 w 96139"/>
                  <a:gd name="connsiteY11" fmla="*/ 13592 h 12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39" h="124678">
                    <a:moveTo>
                      <a:pt x="96030" y="13592"/>
                    </a:moveTo>
                    <a:lnTo>
                      <a:pt x="90939" y="24542"/>
                    </a:lnTo>
                    <a:lnTo>
                      <a:pt x="90939" y="24542"/>
                    </a:lnTo>
                    <a:cubicBezTo>
                      <a:pt x="61648" y="7350"/>
                      <a:pt x="48070" y="19833"/>
                      <a:pt x="48070" y="30017"/>
                    </a:cubicBezTo>
                    <a:cubicBezTo>
                      <a:pt x="48070" y="50986"/>
                      <a:pt x="89187" y="54106"/>
                      <a:pt x="89187" y="87558"/>
                    </a:cubicBezTo>
                    <a:cubicBezTo>
                      <a:pt x="89187" y="104312"/>
                      <a:pt x="75226" y="124678"/>
                      <a:pt x="41062" y="124678"/>
                    </a:cubicBezTo>
                    <a:cubicBezTo>
                      <a:pt x="25939" y="123878"/>
                      <a:pt x="11503" y="118104"/>
                      <a:pt x="0" y="108254"/>
                    </a:cubicBezTo>
                    <a:lnTo>
                      <a:pt x="4927" y="97304"/>
                    </a:lnTo>
                    <a:cubicBezTo>
                      <a:pt x="27922" y="114112"/>
                      <a:pt x="55899" y="107487"/>
                      <a:pt x="55899" y="91829"/>
                    </a:cubicBezTo>
                    <a:cubicBezTo>
                      <a:pt x="55899" y="71900"/>
                      <a:pt x="14782" y="64837"/>
                      <a:pt x="14782" y="38339"/>
                    </a:cubicBezTo>
                    <a:cubicBezTo>
                      <a:pt x="14782" y="10964"/>
                      <a:pt x="42157" y="14"/>
                      <a:pt x="55461" y="14"/>
                    </a:cubicBezTo>
                    <a:cubicBezTo>
                      <a:pt x="70182" y="-295"/>
                      <a:pt x="84556" y="4503"/>
                      <a:pt x="96140" y="1359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="" xmlns:a16="http://schemas.microsoft.com/office/drawing/2014/main" id="{BD557A81-967E-4C09-83DA-D8EC2CF35B6E}"/>
                  </a:ext>
                </a:extLst>
              </p:cNvPr>
              <p:cNvSpPr/>
              <p:nvPr/>
            </p:nvSpPr>
            <p:spPr>
              <a:xfrm>
                <a:off x="6476103" y="3533336"/>
                <a:ext cx="149518" cy="157897"/>
              </a:xfrm>
              <a:custGeom>
                <a:avLst/>
                <a:gdLst>
                  <a:gd name="connsiteX0" fmla="*/ 113494 w 149518"/>
                  <a:gd name="connsiteY0" fmla="*/ 0 h 157897"/>
                  <a:gd name="connsiteX1" fmla="*/ 97069 w 149518"/>
                  <a:gd name="connsiteY1" fmla="*/ 90117 h 157897"/>
                  <a:gd name="connsiteX2" fmla="*/ 59292 w 149518"/>
                  <a:gd name="connsiteY2" fmla="*/ 133096 h 157897"/>
                  <a:gd name="connsiteX3" fmla="*/ 36243 w 149518"/>
                  <a:gd name="connsiteY3" fmla="*/ 90008 h 157897"/>
                  <a:gd name="connsiteX4" fmla="*/ 52667 w 149518"/>
                  <a:gd name="connsiteY4" fmla="*/ 0 h 157897"/>
                  <a:gd name="connsiteX5" fmla="*/ 16423 w 149518"/>
                  <a:gd name="connsiteY5" fmla="*/ 0 h 157897"/>
                  <a:gd name="connsiteX6" fmla="*/ 2736 w 149518"/>
                  <a:gd name="connsiteY6" fmla="*/ 73857 h 157897"/>
                  <a:gd name="connsiteX7" fmla="*/ 53653 w 149518"/>
                  <a:gd name="connsiteY7" fmla="*/ 157897 h 157897"/>
                  <a:gd name="connsiteX8" fmla="*/ 135777 w 149518"/>
                  <a:gd name="connsiteY8" fmla="*/ 74076 h 157897"/>
                  <a:gd name="connsiteX9" fmla="*/ 149519 w 149518"/>
                  <a:gd name="connsiteY9" fmla="*/ 0 h 157897"/>
                  <a:gd name="connsiteX10" fmla="*/ 113384 w 149518"/>
                  <a:gd name="connsiteY10" fmla="*/ 0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518" h="157897">
                    <a:moveTo>
                      <a:pt x="113494" y="0"/>
                    </a:moveTo>
                    <a:lnTo>
                      <a:pt x="97069" y="90117"/>
                    </a:lnTo>
                    <a:cubicBezTo>
                      <a:pt x="91594" y="117492"/>
                      <a:pt x="79604" y="133096"/>
                      <a:pt x="59292" y="133096"/>
                    </a:cubicBezTo>
                    <a:cubicBezTo>
                      <a:pt x="37721" y="133096"/>
                      <a:pt x="31917" y="112127"/>
                      <a:pt x="36243" y="90008"/>
                    </a:cubicBezTo>
                    <a:lnTo>
                      <a:pt x="52667" y="0"/>
                    </a:lnTo>
                    <a:lnTo>
                      <a:pt x="16423" y="0"/>
                    </a:lnTo>
                    <a:lnTo>
                      <a:pt x="2736" y="73857"/>
                    </a:lnTo>
                    <a:cubicBezTo>
                      <a:pt x="-6079" y="120777"/>
                      <a:pt x="5254" y="157897"/>
                      <a:pt x="53653" y="157897"/>
                    </a:cubicBezTo>
                    <a:cubicBezTo>
                      <a:pt x="102051" y="157897"/>
                      <a:pt x="125210" y="132767"/>
                      <a:pt x="135777" y="74076"/>
                    </a:cubicBezTo>
                    <a:lnTo>
                      <a:pt x="149519" y="0"/>
                    </a:lnTo>
                    <a:lnTo>
                      <a:pt x="113384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="" xmlns:a16="http://schemas.microsoft.com/office/drawing/2014/main" id="{9E069ABC-3837-4A6A-BCF6-AED030122123}"/>
                  </a:ext>
                </a:extLst>
              </p:cNvPr>
              <p:cNvSpPr/>
              <p:nvPr/>
            </p:nvSpPr>
            <p:spPr>
              <a:xfrm>
                <a:off x="6782764" y="3533336"/>
                <a:ext cx="52273" cy="157897"/>
              </a:xfrm>
              <a:custGeom>
                <a:avLst/>
                <a:gdLst>
                  <a:gd name="connsiteX0" fmla="*/ 47401 w 52273"/>
                  <a:gd name="connsiteY0" fmla="*/ 140104 h 157897"/>
                  <a:gd name="connsiteX1" fmla="*/ 30976 w 52273"/>
                  <a:gd name="connsiteY1" fmla="*/ 111524 h 157897"/>
                  <a:gd name="connsiteX2" fmla="*/ 51672 w 52273"/>
                  <a:gd name="connsiteY2" fmla="*/ 0 h 157897"/>
                  <a:gd name="connsiteX3" fmla="*/ 23202 w 52273"/>
                  <a:gd name="connsiteY3" fmla="*/ 0 h 157897"/>
                  <a:gd name="connsiteX4" fmla="*/ 1576 w 52273"/>
                  <a:gd name="connsiteY4" fmla="*/ 115357 h 157897"/>
                  <a:gd name="connsiteX5" fmla="*/ 28075 w 52273"/>
                  <a:gd name="connsiteY5" fmla="*/ 157897 h 157897"/>
                  <a:gd name="connsiteX6" fmla="*/ 52274 w 52273"/>
                  <a:gd name="connsiteY6" fmla="*/ 151053 h 157897"/>
                  <a:gd name="connsiteX7" fmla="*/ 47401 w 52273"/>
                  <a:gd name="connsiteY7" fmla="*/ 140104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273" h="157897">
                    <a:moveTo>
                      <a:pt x="47401" y="140104"/>
                    </a:moveTo>
                    <a:cubicBezTo>
                      <a:pt x="35959" y="143279"/>
                      <a:pt x="24461" y="141253"/>
                      <a:pt x="30976" y="111524"/>
                    </a:cubicBezTo>
                    <a:lnTo>
                      <a:pt x="51672" y="0"/>
                    </a:lnTo>
                    <a:lnTo>
                      <a:pt x="23202" y="0"/>
                    </a:lnTo>
                    <a:lnTo>
                      <a:pt x="1576" y="115357"/>
                    </a:lnTo>
                    <a:cubicBezTo>
                      <a:pt x="-4392" y="147221"/>
                      <a:pt x="7051" y="157897"/>
                      <a:pt x="28075" y="157897"/>
                    </a:cubicBezTo>
                    <a:cubicBezTo>
                      <a:pt x="36570" y="157567"/>
                      <a:pt x="44864" y="155222"/>
                      <a:pt x="52274" y="151053"/>
                    </a:cubicBezTo>
                    <a:lnTo>
                      <a:pt x="47401" y="140104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>
                  <a:solidFill>
                    <a:srgbClr val="000000"/>
                  </a:solidFill>
                </a:endParaRPr>
              </a:p>
            </p:txBody>
          </p:sp>
        </p:grpSp>
        <p:pic>
          <p:nvPicPr>
            <p:cNvPr id="61" name="Graphic 60">
              <a:extLst>
                <a:ext uri="{FF2B5EF4-FFF2-40B4-BE49-F238E27FC236}">
                  <a16:creationId xmlns="" xmlns:a16="http://schemas.microsoft.com/office/drawing/2014/main" id="{684E6A1E-ABB3-4B89-BD68-8C651D4E14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096123" y="3236497"/>
              <a:ext cx="1059319" cy="5668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87772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and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2003" y="1026305"/>
            <a:ext cx="8551332" cy="339785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  <a:effectLst/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252721" y="2468880"/>
            <a:ext cx="5913119" cy="286512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9" name="Hexagon 8">
            <a:extLst>
              <a:ext uri="{FF2B5EF4-FFF2-40B4-BE49-F238E27FC236}">
                <a16:creationId xmlns="" xmlns:a16="http://schemas.microsoft.com/office/drawing/2014/main" id="{6335578B-BE77-4804-ACD9-CBFE6D4DD6E5}"/>
              </a:ext>
            </a:extLst>
          </p:cNvPr>
          <p:cNvSpPr/>
          <p:nvPr userDrawn="1"/>
        </p:nvSpPr>
        <p:spPr>
          <a:xfrm>
            <a:off x="2823787" y="1805226"/>
            <a:ext cx="1908699" cy="1645430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19">
            <a:extLst>
              <a:ext uri="{FF2B5EF4-FFF2-40B4-BE49-F238E27FC236}">
                <a16:creationId xmlns="" xmlns:a16="http://schemas.microsoft.com/office/drawing/2014/main" id="{1B6D9908-CDFE-4A55-8D25-28558427119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1" y="2072901"/>
            <a:ext cx="3453175" cy="3950996"/>
          </a:xfrm>
          <a:custGeom>
            <a:avLst/>
            <a:gdLst>
              <a:gd name="connsiteX0" fmla="*/ 0 w 4583160"/>
              <a:gd name="connsiteY0" fmla="*/ 1975499 h 3950998"/>
              <a:gd name="connsiteX1" fmla="*/ 1129985 w 4583160"/>
              <a:gd name="connsiteY1" fmla="*/ 1 h 3950998"/>
              <a:gd name="connsiteX2" fmla="*/ 3453175 w 4583160"/>
              <a:gd name="connsiteY2" fmla="*/ 1 h 3950998"/>
              <a:gd name="connsiteX3" fmla="*/ 4583160 w 4583160"/>
              <a:gd name="connsiteY3" fmla="*/ 1975499 h 3950998"/>
              <a:gd name="connsiteX4" fmla="*/ 3453175 w 4583160"/>
              <a:gd name="connsiteY4" fmla="*/ 3950997 h 3950998"/>
              <a:gd name="connsiteX5" fmla="*/ 1129985 w 4583160"/>
              <a:gd name="connsiteY5" fmla="*/ 3950997 h 3950998"/>
              <a:gd name="connsiteX6" fmla="*/ 0 w 4583160"/>
              <a:gd name="connsiteY6" fmla="*/ 1975499 h 3950998"/>
              <a:gd name="connsiteX0" fmla="*/ 0 w 3453175"/>
              <a:gd name="connsiteY0" fmla="*/ 3950996 h 3950996"/>
              <a:gd name="connsiteX1" fmla="*/ 0 w 3453175"/>
              <a:gd name="connsiteY1" fmla="*/ 0 h 3950996"/>
              <a:gd name="connsiteX2" fmla="*/ 2323190 w 3453175"/>
              <a:gd name="connsiteY2" fmla="*/ 0 h 3950996"/>
              <a:gd name="connsiteX3" fmla="*/ 3453175 w 3453175"/>
              <a:gd name="connsiteY3" fmla="*/ 1975498 h 3950996"/>
              <a:gd name="connsiteX4" fmla="*/ 2323190 w 3453175"/>
              <a:gd name="connsiteY4" fmla="*/ 3950996 h 3950996"/>
              <a:gd name="connsiteX5" fmla="*/ 0 w 3453175"/>
              <a:gd name="connsiteY5" fmla="*/ 3950996 h 395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3175" h="3950996">
                <a:moveTo>
                  <a:pt x="0" y="3950996"/>
                </a:moveTo>
                <a:lnTo>
                  <a:pt x="0" y="0"/>
                </a:lnTo>
                <a:lnTo>
                  <a:pt x="2323190" y="0"/>
                </a:lnTo>
                <a:lnTo>
                  <a:pt x="3453175" y="1975498"/>
                </a:lnTo>
                <a:lnTo>
                  <a:pt x="2323190" y="3950996"/>
                </a:lnTo>
                <a:lnTo>
                  <a:pt x="0" y="3950996"/>
                </a:lnTo>
                <a:close/>
              </a:path>
            </a:pathLst>
          </a:custGeom>
          <a:solidFill>
            <a:schemeClr val="bg2"/>
          </a:solidFill>
        </p:spPr>
        <p:txBody>
          <a:bodyPr lIns="72000" rIns="72000" bIns="180000" anchor="b"/>
          <a:lstStyle>
            <a:lvl1pPr marL="0" indent="0" algn="l">
              <a:buNone/>
              <a:defRPr sz="1800"/>
            </a:lvl1pPr>
          </a:lstStyle>
          <a:p>
            <a:r>
              <a:rPr lang="en-GB"/>
              <a:t>  Insert image</a:t>
            </a:r>
          </a:p>
        </p:txBody>
      </p:sp>
    </p:spTree>
    <p:extLst>
      <p:ext uri="{BB962C8B-B14F-4D97-AF65-F5344CB8AC3E}">
        <p14:creationId xmlns:p14="http://schemas.microsoft.com/office/powerpoint/2010/main" val="31679356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2003" y="1026305"/>
            <a:ext cx="8551332" cy="339785"/>
          </a:xfrm>
          <a:prstGeom prst="rect">
            <a:avLst/>
          </a:prstGeom>
          <a:effectLst/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  <a:effectLst/>
                <a:latin typeface="Calibri" panose="020F050202020403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Subheading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="" xmlns:a16="http://schemas.microsoft.com/office/drawing/2014/main" id="{B5392F6B-A1ED-474A-AF82-B828ED53CD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778000"/>
            <a:ext cx="8551332" cy="42176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13209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out subheading -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8B1226BF-E288-4688-A2DB-DB0BDC89D5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54667"/>
            <a:ext cx="8551334" cy="46410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  <p:sp>
        <p:nvSpPr>
          <p:cNvPr id="12" name="Footer Placeholder 1">
            <a:extLst>
              <a:ext uri="{FF2B5EF4-FFF2-40B4-BE49-F238E27FC236}">
                <a16:creationId xmlns="" xmlns:a16="http://schemas.microsoft.com/office/drawing/2014/main" id="{83095328-C62C-4CE9-B0A4-B1409B0E072C}"/>
              </a:ext>
            </a:extLst>
          </p:cNvPr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chemeClr val="bg1">
                    <a:alpha val="16000"/>
                  </a:schemeClr>
                </a:solidFill>
              </a:rPr>
              <a:t>Copyright © United Utilities Water Limited 2022</a:t>
            </a:r>
          </a:p>
        </p:txBody>
      </p:sp>
    </p:spTree>
    <p:extLst>
      <p:ext uri="{BB962C8B-B14F-4D97-AF65-F5344CB8AC3E}">
        <p14:creationId xmlns:p14="http://schemas.microsoft.com/office/powerpoint/2010/main" val="768956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out sub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54667"/>
            <a:ext cx="8551332" cy="4641019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600" baseline="0"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  <a:p>
            <a:pPr lvl="0"/>
            <a:r>
              <a:rPr lang="en-US"/>
              <a:t>(Only widen text box if necessary)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1623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961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562785"/>
            <a:ext cx="8551332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115D8BE3-DF9D-43C9-830C-8BD784B4F2D5}"/>
              </a:ext>
            </a:extLst>
          </p:cNvPr>
          <p:cNvGrpSpPr/>
          <p:nvPr userDrawn="1"/>
        </p:nvGrpSpPr>
        <p:grpSpPr>
          <a:xfrm>
            <a:off x="762001" y="2112884"/>
            <a:ext cx="3449331" cy="3523007"/>
            <a:chOff x="762001" y="2112884"/>
            <a:chExt cx="3392749" cy="3523007"/>
          </a:xfrm>
        </p:grpSpPr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38029D50-7C02-4A6A-8327-BE2EF39C11C8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25" name="Straight Connector 24">
              <a:extLst>
                <a:ext uri="{FF2B5EF4-FFF2-40B4-BE49-F238E27FC236}">
                  <a16:creationId xmlns="" xmlns:a16="http://schemas.microsoft.com/office/drawing/2014/main" id="{818D639F-BDE1-4DFF-9969-62B1E06593A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="" xmlns:a16="http://schemas.microsoft.com/office/drawing/2014/main" id="{C65B6616-D61E-4403-A58B-FD1DB8B1316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0A02E44D-41F6-47BF-8385-DE8C42269305}"/>
              </a:ext>
            </a:extLst>
          </p:cNvPr>
          <p:cNvGrpSpPr/>
          <p:nvPr userDrawn="1"/>
        </p:nvGrpSpPr>
        <p:grpSpPr>
          <a:xfrm>
            <a:off x="4383944" y="2112884"/>
            <a:ext cx="3449331" cy="3523007"/>
            <a:chOff x="762001" y="2112884"/>
            <a:chExt cx="3392749" cy="3523007"/>
          </a:xfrm>
        </p:grpSpPr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0A5C607B-275C-4B36-A1EB-C0CC9571E754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30" name="Straight Connector 29">
              <a:extLst>
                <a:ext uri="{FF2B5EF4-FFF2-40B4-BE49-F238E27FC236}">
                  <a16:creationId xmlns="" xmlns:a16="http://schemas.microsoft.com/office/drawing/2014/main" id="{3944BC65-5DEC-485D-B639-6C514168C93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="" xmlns:a16="http://schemas.microsoft.com/office/drawing/2014/main" id="{DB366307-260D-44DD-B6D1-580178DEC12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6E1B722C-518C-48F1-AF9C-F8B343B43C99}"/>
              </a:ext>
            </a:extLst>
          </p:cNvPr>
          <p:cNvGrpSpPr/>
          <p:nvPr userDrawn="1"/>
        </p:nvGrpSpPr>
        <p:grpSpPr>
          <a:xfrm>
            <a:off x="7991258" y="2112884"/>
            <a:ext cx="3449331" cy="3523007"/>
            <a:chOff x="762001" y="2112884"/>
            <a:chExt cx="3392749" cy="3523007"/>
          </a:xfrm>
        </p:grpSpPr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83FB2C45-8202-4B47-A3B3-364CE73133A4}"/>
                </a:ext>
              </a:extLst>
            </p:cNvPr>
            <p:cNvSpPr/>
            <p:nvPr userDrawn="1"/>
          </p:nvSpPr>
          <p:spPr>
            <a:xfrm>
              <a:off x="762001" y="2112885"/>
              <a:ext cx="3392749" cy="3523006"/>
            </a:xfrm>
            <a:prstGeom prst="rect">
              <a:avLst/>
            </a:prstGeom>
            <a:solidFill>
              <a:schemeClr val="accent2">
                <a:alpha val="1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noFill/>
              </a:endParaRPr>
            </a:p>
          </p:txBody>
        </p:sp>
        <p:cxnSp>
          <p:nvCxnSpPr>
            <p:cNvPr id="35" name="Straight Connector 34">
              <a:extLst>
                <a:ext uri="{FF2B5EF4-FFF2-40B4-BE49-F238E27FC236}">
                  <a16:creationId xmlns="" xmlns:a16="http://schemas.microsoft.com/office/drawing/2014/main" id="{A4C87733-6ACA-4A29-A0AE-B2A7D69C36D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2112884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="" xmlns:a16="http://schemas.microsoft.com/office/drawing/2014/main" id="{05D4E9C1-74D6-4675-8785-00832674F46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2001" y="5633463"/>
              <a:ext cx="3392749" cy="0"/>
            </a:xfrm>
            <a:prstGeom prst="line">
              <a:avLst/>
            </a:prstGeom>
            <a:ln w="28575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Hexagon 36">
            <a:extLst>
              <a:ext uri="{FF2B5EF4-FFF2-40B4-BE49-F238E27FC236}">
                <a16:creationId xmlns="" xmlns:a16="http://schemas.microsoft.com/office/drawing/2014/main" id="{C26C9C7A-47B7-4E9D-B7D5-ACF27CD69986}"/>
              </a:ext>
            </a:extLst>
          </p:cNvPr>
          <p:cNvSpPr/>
          <p:nvPr userDrawn="1"/>
        </p:nvSpPr>
        <p:spPr>
          <a:xfrm>
            <a:off x="2202157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Hexagon 37">
            <a:extLst>
              <a:ext uri="{FF2B5EF4-FFF2-40B4-BE49-F238E27FC236}">
                <a16:creationId xmlns="" xmlns:a16="http://schemas.microsoft.com/office/drawing/2014/main" id="{F6B2D622-DDB9-4EDE-9F4F-06B96B02E7AA}"/>
              </a:ext>
            </a:extLst>
          </p:cNvPr>
          <p:cNvSpPr/>
          <p:nvPr userDrawn="1"/>
        </p:nvSpPr>
        <p:spPr>
          <a:xfrm>
            <a:off x="5824100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Hexagon 38">
            <a:extLst>
              <a:ext uri="{FF2B5EF4-FFF2-40B4-BE49-F238E27FC236}">
                <a16:creationId xmlns="" xmlns:a16="http://schemas.microsoft.com/office/drawing/2014/main" id="{75A865D4-0540-47E3-AEA5-AE531044036F}"/>
              </a:ext>
            </a:extLst>
          </p:cNvPr>
          <p:cNvSpPr/>
          <p:nvPr userDrawn="1"/>
        </p:nvSpPr>
        <p:spPr>
          <a:xfrm>
            <a:off x="9446043" y="1867618"/>
            <a:ext cx="569018" cy="490533"/>
          </a:xfrm>
          <a:prstGeom prst="hexagon">
            <a:avLst>
              <a:gd name="adj" fmla="val 29046"/>
              <a:gd name="vf" fmla="val 11547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Text Placeholder 5">
            <a:extLst>
              <a:ext uri="{FF2B5EF4-FFF2-40B4-BE49-F238E27FC236}">
                <a16:creationId xmlns="" xmlns:a16="http://schemas.microsoft.com/office/drawing/2014/main" id="{B024148B-15CE-4D60-94F9-DD99481C678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86123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42" name="Text Placeholder 5">
            <a:extLst>
              <a:ext uri="{FF2B5EF4-FFF2-40B4-BE49-F238E27FC236}">
                <a16:creationId xmlns="" xmlns:a16="http://schemas.microsoft.com/office/drawing/2014/main" id="{17AAEDBE-E670-4E68-9BE6-765FD53F1B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73778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10000"/>
              </a:lnSpc>
              <a:spcBef>
                <a:spcPts val="0"/>
              </a:spcBef>
              <a:buNone/>
              <a:defRPr sz="1400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="" xmlns:a16="http://schemas.microsoft.com/office/drawing/2014/main" id="{A8CE5D88-6B6E-44E9-8841-03FD2BD997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00642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44" name="Text Placeholder 5">
            <a:extLst>
              <a:ext uri="{FF2B5EF4-FFF2-40B4-BE49-F238E27FC236}">
                <a16:creationId xmlns="" xmlns:a16="http://schemas.microsoft.com/office/drawing/2014/main" id="{31CB24F3-1F27-43B8-935C-ED751B850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8297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</p:txBody>
      </p:sp>
      <p:sp>
        <p:nvSpPr>
          <p:cNvPr id="51" name="Text Placeholder 5">
            <a:extLst>
              <a:ext uri="{FF2B5EF4-FFF2-40B4-BE49-F238E27FC236}">
                <a16:creationId xmlns="" xmlns:a16="http://schemas.microsoft.com/office/drawing/2014/main" id="{5F0C79BD-4652-4D71-9CBB-38F6096A6EF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409071" y="2621566"/>
            <a:ext cx="2596806" cy="83440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None/>
              <a:defRPr sz="2000" b="1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Section title</a:t>
            </a:r>
            <a:br>
              <a:rPr lang="en-US"/>
            </a:br>
            <a:r>
              <a:rPr lang="en-US"/>
              <a:t>to go here</a:t>
            </a:r>
            <a:endParaRPr lang="en-GB"/>
          </a:p>
        </p:txBody>
      </p:sp>
      <p:sp>
        <p:nvSpPr>
          <p:cNvPr id="52" name="Text Placeholder 5">
            <a:extLst>
              <a:ext uri="{FF2B5EF4-FFF2-40B4-BE49-F238E27FC236}">
                <a16:creationId xmlns="" xmlns:a16="http://schemas.microsoft.com/office/drawing/2014/main" id="{3A165006-7E10-4952-BFF9-AC433B67F6D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6726" y="3538437"/>
            <a:ext cx="2641132" cy="169225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lang="en-US" sz="1400" kern="1200" baseline="0" dirty="0">
                <a:solidFill>
                  <a:schemeClr val="tx2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/>
              <a:t>Body copy</a:t>
            </a:r>
          </a:p>
        </p:txBody>
      </p:sp>
    </p:spTree>
    <p:extLst>
      <p:ext uri="{BB962C8B-B14F-4D97-AF65-F5344CB8AC3E}">
        <p14:creationId xmlns:p14="http://schemas.microsoft.com/office/powerpoint/2010/main" val="8344812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mmar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rrow: Right 2">
            <a:extLst>
              <a:ext uri="{FF2B5EF4-FFF2-40B4-BE49-F238E27FC236}">
                <a16:creationId xmlns="" xmlns:a16="http://schemas.microsoft.com/office/drawing/2014/main" id="{15C31E0B-0D30-4AEF-88C6-8A58C64DBBB5}"/>
              </a:ext>
            </a:extLst>
          </p:cNvPr>
          <p:cNvSpPr/>
          <p:nvPr userDrawn="1"/>
        </p:nvSpPr>
        <p:spPr>
          <a:xfrm>
            <a:off x="0" y="1700664"/>
            <a:ext cx="6990080" cy="3454400"/>
          </a:xfrm>
          <a:prstGeom prst="rightArrow">
            <a:avLst>
              <a:gd name="adj1" fmla="val 100000"/>
              <a:gd name="adj2" fmla="val 2441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2003" y="2288638"/>
            <a:ext cx="4653279" cy="43998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000" b="1" baseline="0">
                <a:solidFill>
                  <a:schemeClr val="accent2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18" name="Footer Placeholder 1"/>
          <p:cNvSpPr txBox="1">
            <a:spLocks/>
          </p:cNvSpPr>
          <p:nvPr userDrawn="1"/>
        </p:nvSpPr>
        <p:spPr>
          <a:xfrm>
            <a:off x="762001" y="6483354"/>
            <a:ext cx="230292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>
                <a:solidFill>
                  <a:srgbClr val="FFFFFF">
                    <a:lumMod val="50000"/>
                  </a:srgbClr>
                </a:solidFill>
              </a:rPr>
              <a:t>Copyright © United Utilities Water Limited 2022</a:t>
            </a:r>
          </a:p>
        </p:txBody>
      </p:sp>
      <p:sp>
        <p:nvSpPr>
          <p:cNvPr id="19" name="Footer Placeholder 1"/>
          <p:cNvSpPr txBox="1">
            <a:spLocks/>
          </p:cNvSpPr>
          <p:nvPr/>
        </p:nvSpPr>
        <p:spPr>
          <a:xfrm>
            <a:off x="11440589" y="6483354"/>
            <a:ext cx="484713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999010BB-F1CF-4422-A220-2D1BCBBB1C17}" type="slidenum">
              <a:rPr lang="en-GB" sz="800" smtClean="0">
                <a:solidFill>
                  <a:srgbClr val="FFFFFF">
                    <a:lumMod val="50000"/>
                  </a:srgbClr>
                </a:solidFill>
              </a:rPr>
              <a:pPr algn="r"/>
              <a:t>‹#›</a:t>
            </a:fld>
            <a:endParaRPr lang="en-GB" sz="60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="" xmlns:a16="http://schemas.microsoft.com/office/drawing/2014/main" id="{DB0742B1-A627-4893-87C2-492C2B66B0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3026761"/>
            <a:ext cx="4653279" cy="1498383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en-US"/>
              <a:t>Body copy</a:t>
            </a:r>
          </a:p>
        </p:txBody>
      </p:sp>
      <p:grpSp>
        <p:nvGrpSpPr>
          <p:cNvPr id="62" name="Group 61">
            <a:extLst>
              <a:ext uri="{FF2B5EF4-FFF2-40B4-BE49-F238E27FC236}">
                <a16:creationId xmlns="" xmlns:a16="http://schemas.microsoft.com/office/drawing/2014/main" id="{7052DD47-3E35-466F-8244-456324C76784}"/>
              </a:ext>
            </a:extLst>
          </p:cNvPr>
          <p:cNvGrpSpPr/>
          <p:nvPr userDrawn="1"/>
        </p:nvGrpSpPr>
        <p:grpSpPr>
          <a:xfrm>
            <a:off x="5831147" y="2600069"/>
            <a:ext cx="5726097" cy="1645430"/>
            <a:chOff x="5831147" y="2697725"/>
            <a:chExt cx="5726097" cy="1645430"/>
          </a:xfrm>
        </p:grpSpPr>
        <p:sp>
          <p:nvSpPr>
            <p:cNvPr id="7" name="Hexagon 6">
              <a:extLst>
                <a:ext uri="{FF2B5EF4-FFF2-40B4-BE49-F238E27FC236}">
                  <a16:creationId xmlns="" xmlns:a16="http://schemas.microsoft.com/office/drawing/2014/main" id="{FFB54227-E35B-4813-8FA2-DC0687184A26}"/>
                </a:ext>
              </a:extLst>
            </p:cNvPr>
            <p:cNvSpPr/>
            <p:nvPr userDrawn="1"/>
          </p:nvSpPr>
          <p:spPr>
            <a:xfrm>
              <a:off x="5831147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Hexagon 7">
              <a:extLst>
                <a:ext uri="{FF2B5EF4-FFF2-40B4-BE49-F238E27FC236}">
                  <a16:creationId xmlns="" xmlns:a16="http://schemas.microsoft.com/office/drawing/2014/main" id="{2A0CA8AB-1671-4DD1-9154-EA62B162A465}"/>
                </a:ext>
              </a:extLst>
            </p:cNvPr>
            <p:cNvSpPr/>
            <p:nvPr userDrawn="1"/>
          </p:nvSpPr>
          <p:spPr>
            <a:xfrm>
              <a:off x="7739846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Hexagon 8">
              <a:extLst>
                <a:ext uri="{FF2B5EF4-FFF2-40B4-BE49-F238E27FC236}">
                  <a16:creationId xmlns="" xmlns:a16="http://schemas.microsoft.com/office/drawing/2014/main" id="{639165BE-9D5F-44E5-A10B-41B0463157AC}"/>
                </a:ext>
              </a:extLst>
            </p:cNvPr>
            <p:cNvSpPr/>
            <p:nvPr userDrawn="1"/>
          </p:nvSpPr>
          <p:spPr>
            <a:xfrm>
              <a:off x="9648545" y="2697725"/>
              <a:ext cx="1908699" cy="1645430"/>
            </a:xfrm>
            <a:prstGeom prst="hexagon">
              <a:avLst>
                <a:gd name="adj" fmla="val 29046"/>
                <a:gd name="vf" fmla="val 115470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Graphic 11">
              <a:extLst>
                <a:ext uri="{FF2B5EF4-FFF2-40B4-BE49-F238E27FC236}">
                  <a16:creationId xmlns="" xmlns:a16="http://schemas.microsoft.com/office/drawing/2014/main" id="{8FFC019D-A9EA-4514-BC25-9FD22CB1BD9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36182" y="3153728"/>
              <a:ext cx="513398" cy="733425"/>
            </a:xfrm>
            <a:prstGeom prst="rect">
              <a:avLst/>
            </a:prstGeom>
          </p:spPr>
        </p:pic>
        <p:grpSp>
          <p:nvGrpSpPr>
            <p:cNvPr id="60" name="Group 59">
              <a:extLst>
                <a:ext uri="{FF2B5EF4-FFF2-40B4-BE49-F238E27FC236}">
                  <a16:creationId xmlns="" xmlns:a16="http://schemas.microsoft.com/office/drawing/2014/main" id="{A2B20514-706C-4EF1-A68A-B660E9E0AAF9}"/>
                </a:ext>
              </a:extLst>
            </p:cNvPr>
            <p:cNvGrpSpPr/>
            <p:nvPr userDrawn="1"/>
          </p:nvGrpSpPr>
          <p:grpSpPr>
            <a:xfrm>
              <a:off x="6093476" y="3302493"/>
              <a:ext cx="1360628" cy="448434"/>
              <a:chOff x="5851743" y="3236595"/>
              <a:chExt cx="1452551" cy="478730"/>
            </a:xfrm>
          </p:grpSpPr>
          <p:sp>
            <p:nvSpPr>
              <p:cNvPr id="17" name="Freeform: Shape 16">
                <a:extLst>
                  <a:ext uri="{FF2B5EF4-FFF2-40B4-BE49-F238E27FC236}">
                    <a16:creationId xmlns="" xmlns:a16="http://schemas.microsoft.com/office/drawing/2014/main" id="{6056861D-C90B-4ED2-8BB3-FD4DA0D02E4C}"/>
                  </a:ext>
                </a:extLst>
              </p:cNvPr>
              <p:cNvSpPr/>
              <p:nvPr/>
            </p:nvSpPr>
            <p:spPr>
              <a:xfrm>
                <a:off x="6080237" y="3246887"/>
                <a:ext cx="249957" cy="322455"/>
              </a:xfrm>
              <a:custGeom>
                <a:avLst/>
                <a:gdLst>
                  <a:gd name="connsiteX0" fmla="*/ 39994 w 249957"/>
                  <a:gd name="connsiteY0" fmla="*/ 314152 h 322455"/>
                  <a:gd name="connsiteX1" fmla="*/ 249958 w 249957"/>
                  <a:gd name="connsiteY1" fmla="*/ 93731 h 322455"/>
                  <a:gd name="connsiteX2" fmla="*/ 52860 w 249957"/>
                  <a:gd name="connsiteY2" fmla="*/ 0 h 322455"/>
                  <a:gd name="connsiteX3" fmla="*/ 39994 w 249957"/>
                  <a:gd name="connsiteY3" fmla="*/ 314152 h 3224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49957" h="322455">
                    <a:moveTo>
                      <a:pt x="39994" y="314152"/>
                    </a:moveTo>
                    <a:cubicBezTo>
                      <a:pt x="138981" y="362933"/>
                      <a:pt x="217163" y="184724"/>
                      <a:pt x="249958" y="93731"/>
                    </a:cubicBezTo>
                    <a:cubicBezTo>
                      <a:pt x="199588" y="59732"/>
                      <a:pt x="127921" y="19655"/>
                      <a:pt x="52860" y="0"/>
                    </a:cubicBezTo>
                    <a:cubicBezTo>
                      <a:pt x="30139" y="57761"/>
                      <a:pt x="-46072" y="272050"/>
                      <a:pt x="39994" y="31415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="" xmlns:a16="http://schemas.microsoft.com/office/drawing/2014/main" id="{46CF8035-28FD-4E8C-9038-96D988689DCA}"/>
                  </a:ext>
                </a:extLst>
              </p:cNvPr>
              <p:cNvSpPr/>
              <p:nvPr/>
            </p:nvSpPr>
            <p:spPr>
              <a:xfrm>
                <a:off x="5851743" y="3236595"/>
                <a:ext cx="564050" cy="478730"/>
              </a:xfrm>
              <a:custGeom>
                <a:avLst/>
                <a:gdLst>
                  <a:gd name="connsiteX0" fmla="*/ 540756 w 564050"/>
                  <a:gd name="connsiteY0" fmla="*/ 151546 h 478730"/>
                  <a:gd name="connsiteX1" fmla="*/ 499092 w 564050"/>
                  <a:gd name="connsiteY1" fmla="*/ 118423 h 478730"/>
                  <a:gd name="connsiteX2" fmla="*/ 246150 w 564050"/>
                  <a:gd name="connsiteY2" fmla="*/ 402024 h 478730"/>
                  <a:gd name="connsiteX3" fmla="*/ 159591 w 564050"/>
                  <a:gd name="connsiteY3" fmla="*/ 0 h 478730"/>
                  <a:gd name="connsiteX4" fmla="*/ 93892 w 564050"/>
                  <a:gd name="connsiteY4" fmla="*/ 19108 h 478730"/>
                  <a:gd name="connsiteX5" fmla="*/ 229670 w 564050"/>
                  <a:gd name="connsiteY5" fmla="*/ 478619 h 478730"/>
                  <a:gd name="connsiteX6" fmla="*/ 540756 w 564050"/>
                  <a:gd name="connsiteY6" fmla="*/ 151546 h 478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564050" h="478730">
                    <a:moveTo>
                      <a:pt x="540756" y="151546"/>
                    </a:moveTo>
                    <a:cubicBezTo>
                      <a:pt x="527476" y="139762"/>
                      <a:pt x="513568" y="128704"/>
                      <a:pt x="499092" y="118423"/>
                    </a:cubicBezTo>
                    <a:cubicBezTo>
                      <a:pt x="466242" y="232192"/>
                      <a:pt x="390031" y="415000"/>
                      <a:pt x="246150" y="402024"/>
                    </a:cubicBezTo>
                    <a:cubicBezTo>
                      <a:pt x="14779" y="381001"/>
                      <a:pt x="137089" y="55735"/>
                      <a:pt x="159591" y="0"/>
                    </a:cubicBezTo>
                    <a:cubicBezTo>
                      <a:pt x="136808" y="2804"/>
                      <a:pt x="114625" y="9255"/>
                      <a:pt x="93892" y="19108"/>
                    </a:cubicBezTo>
                    <a:cubicBezTo>
                      <a:pt x="-114758" y="118642"/>
                      <a:pt x="66517" y="473034"/>
                      <a:pt x="229670" y="478619"/>
                    </a:cubicBezTo>
                    <a:cubicBezTo>
                      <a:pt x="409358" y="484696"/>
                      <a:pt x="638265" y="240897"/>
                      <a:pt x="540756" y="151546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="" xmlns:a16="http://schemas.microsoft.com/office/drawing/2014/main" id="{483D5C08-57B6-419F-8101-DB6C2A790ED8}"/>
                  </a:ext>
                </a:extLst>
              </p:cNvPr>
              <p:cNvSpPr/>
              <p:nvPr/>
            </p:nvSpPr>
            <p:spPr>
              <a:xfrm>
                <a:off x="7000655" y="3307878"/>
                <a:ext cx="133259" cy="158908"/>
              </a:xfrm>
              <a:custGeom>
                <a:avLst/>
                <a:gdLst>
                  <a:gd name="connsiteX0" fmla="*/ 85464 w 133259"/>
                  <a:gd name="connsiteY0" fmla="*/ 23214 h 158908"/>
                  <a:gd name="connsiteX1" fmla="*/ 99552 w 133259"/>
                  <a:gd name="connsiteY1" fmla="*/ 33852 h 158908"/>
                  <a:gd name="connsiteX2" fmla="*/ 99589 w 133259"/>
                  <a:gd name="connsiteY2" fmla="*/ 37011 h 158908"/>
                  <a:gd name="connsiteX3" fmla="*/ 41774 w 133259"/>
                  <a:gd name="connsiteY3" fmla="*/ 77142 h 158908"/>
                  <a:gd name="connsiteX4" fmla="*/ 85573 w 133259"/>
                  <a:gd name="connsiteY4" fmla="*/ 23214 h 158908"/>
                  <a:gd name="connsiteX5" fmla="*/ 133260 w 133259"/>
                  <a:gd name="connsiteY5" fmla="*/ 31645 h 158908"/>
                  <a:gd name="connsiteX6" fmla="*/ 94935 w 133259"/>
                  <a:gd name="connsiteY6" fmla="*/ 0 h 158908"/>
                  <a:gd name="connsiteX7" fmla="*/ 0 w 133259"/>
                  <a:gd name="connsiteY7" fmla="*/ 102984 h 158908"/>
                  <a:gd name="connsiteX8" fmla="*/ 48727 w 133259"/>
                  <a:gd name="connsiteY8" fmla="*/ 158883 h 158908"/>
                  <a:gd name="connsiteX9" fmla="*/ 114043 w 133259"/>
                  <a:gd name="connsiteY9" fmla="*/ 138023 h 158908"/>
                  <a:gd name="connsiteX10" fmla="*/ 107583 w 133259"/>
                  <a:gd name="connsiteY10" fmla="*/ 124391 h 158908"/>
                  <a:gd name="connsiteX11" fmla="*/ 64440 w 133259"/>
                  <a:gd name="connsiteY11" fmla="*/ 133862 h 158908"/>
                  <a:gd name="connsiteX12" fmla="*/ 39420 w 133259"/>
                  <a:gd name="connsiteY12" fmla="*/ 93074 h 158908"/>
                  <a:gd name="connsiteX13" fmla="*/ 133096 w 133259"/>
                  <a:gd name="connsiteY13" fmla="*/ 31645 h 15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33259" h="158908">
                    <a:moveTo>
                      <a:pt x="85464" y="23214"/>
                    </a:moveTo>
                    <a:cubicBezTo>
                      <a:pt x="92292" y="22261"/>
                      <a:pt x="98599" y="27024"/>
                      <a:pt x="99552" y="33852"/>
                    </a:cubicBezTo>
                    <a:cubicBezTo>
                      <a:pt x="99698" y="34899"/>
                      <a:pt x="99710" y="35960"/>
                      <a:pt x="99589" y="37011"/>
                    </a:cubicBezTo>
                    <a:cubicBezTo>
                      <a:pt x="99589" y="55844"/>
                      <a:pt x="71886" y="72433"/>
                      <a:pt x="41774" y="77142"/>
                    </a:cubicBezTo>
                    <a:cubicBezTo>
                      <a:pt x="50369" y="44292"/>
                      <a:pt x="65973" y="23214"/>
                      <a:pt x="85573" y="23214"/>
                    </a:cubicBezTo>
                    <a:moveTo>
                      <a:pt x="133260" y="31645"/>
                    </a:moveTo>
                    <a:cubicBezTo>
                      <a:pt x="133260" y="9745"/>
                      <a:pt x="111908" y="0"/>
                      <a:pt x="94935" y="0"/>
                    </a:cubicBezTo>
                    <a:cubicBezTo>
                      <a:pt x="35313" y="0"/>
                      <a:pt x="0" y="60553"/>
                      <a:pt x="0" y="102984"/>
                    </a:cubicBezTo>
                    <a:cubicBezTo>
                      <a:pt x="0" y="139392"/>
                      <a:pt x="20421" y="158883"/>
                      <a:pt x="48727" y="158883"/>
                    </a:cubicBezTo>
                    <a:cubicBezTo>
                      <a:pt x="72215" y="159400"/>
                      <a:pt x="95203" y="152058"/>
                      <a:pt x="114043" y="138023"/>
                    </a:cubicBezTo>
                    <a:lnTo>
                      <a:pt x="107583" y="124391"/>
                    </a:lnTo>
                    <a:cubicBezTo>
                      <a:pt x="94835" y="132696"/>
                      <a:pt x="79495" y="136064"/>
                      <a:pt x="64440" y="133862"/>
                    </a:cubicBezTo>
                    <a:cubicBezTo>
                      <a:pt x="38763" y="127621"/>
                      <a:pt x="38270" y="106487"/>
                      <a:pt x="39420" y="93074"/>
                    </a:cubicBezTo>
                    <a:cubicBezTo>
                      <a:pt x="72871" y="91760"/>
                      <a:pt x="133096" y="75226"/>
                      <a:pt x="133096" y="31645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="" xmlns:a16="http://schemas.microsoft.com/office/drawing/2014/main" id="{8934BB35-D11F-482C-91AC-5077CEA2BE4B}"/>
                  </a:ext>
                </a:extLst>
              </p:cNvPr>
              <p:cNvSpPr/>
              <p:nvPr/>
            </p:nvSpPr>
            <p:spPr>
              <a:xfrm>
                <a:off x="6907372" y="3265940"/>
                <a:ext cx="93392" cy="200601"/>
              </a:xfrm>
              <a:custGeom>
                <a:avLst/>
                <a:gdLst>
                  <a:gd name="connsiteX0" fmla="*/ 69959 w 93392"/>
                  <a:gd name="connsiteY0" fmla="*/ 175472 h 200601"/>
                  <a:gd name="connsiteX1" fmla="*/ 76256 w 93392"/>
                  <a:gd name="connsiteY1" fmla="*/ 189652 h 200601"/>
                  <a:gd name="connsiteX2" fmla="*/ 35577 w 93392"/>
                  <a:gd name="connsiteY2" fmla="*/ 200602 h 200601"/>
                  <a:gd name="connsiteX3" fmla="*/ 1961 w 93392"/>
                  <a:gd name="connsiteY3" fmla="*/ 146564 h 200601"/>
                  <a:gd name="connsiteX4" fmla="*/ 29335 w 93392"/>
                  <a:gd name="connsiteY4" fmla="*/ 0 h 200601"/>
                  <a:gd name="connsiteX5" fmla="*/ 65580 w 93392"/>
                  <a:gd name="connsiteY5" fmla="*/ 0 h 200601"/>
                  <a:gd name="connsiteX6" fmla="*/ 57148 w 93392"/>
                  <a:gd name="connsiteY6" fmla="*/ 45278 h 200601"/>
                  <a:gd name="connsiteX7" fmla="*/ 93392 w 93392"/>
                  <a:gd name="connsiteY7" fmla="*/ 45278 h 200601"/>
                  <a:gd name="connsiteX8" fmla="*/ 89779 w 93392"/>
                  <a:gd name="connsiteY8" fmla="*/ 66356 h 200601"/>
                  <a:gd name="connsiteX9" fmla="*/ 53261 w 93392"/>
                  <a:gd name="connsiteY9" fmla="*/ 66356 h 200601"/>
                  <a:gd name="connsiteX10" fmla="*/ 39026 w 93392"/>
                  <a:gd name="connsiteY10" fmla="*/ 141965 h 200601"/>
                  <a:gd name="connsiteX11" fmla="*/ 69959 w 93392"/>
                  <a:gd name="connsiteY11" fmla="*/ 175472 h 200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3392" h="200601">
                    <a:moveTo>
                      <a:pt x="69959" y="175472"/>
                    </a:moveTo>
                    <a:lnTo>
                      <a:pt x="76256" y="189652"/>
                    </a:lnTo>
                    <a:cubicBezTo>
                      <a:pt x="63898" y="196822"/>
                      <a:pt x="49864" y="200599"/>
                      <a:pt x="35577" y="200602"/>
                    </a:cubicBezTo>
                    <a:cubicBezTo>
                      <a:pt x="9078" y="200602"/>
                      <a:pt x="-5540" y="187133"/>
                      <a:pt x="1961" y="146564"/>
                    </a:cubicBezTo>
                    <a:lnTo>
                      <a:pt x="29335" y="0"/>
                    </a:lnTo>
                    <a:lnTo>
                      <a:pt x="65580" y="0"/>
                    </a:lnTo>
                    <a:lnTo>
                      <a:pt x="57148" y="45278"/>
                    </a:lnTo>
                    <a:lnTo>
                      <a:pt x="93392" y="45278"/>
                    </a:lnTo>
                    <a:lnTo>
                      <a:pt x="89779" y="66356"/>
                    </a:lnTo>
                    <a:lnTo>
                      <a:pt x="53261" y="66356"/>
                    </a:lnTo>
                    <a:lnTo>
                      <a:pt x="39026" y="141965"/>
                    </a:lnTo>
                    <a:cubicBezTo>
                      <a:pt x="30923" y="185217"/>
                      <a:pt x="52604" y="181658"/>
                      <a:pt x="69959" y="17547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="" xmlns:a16="http://schemas.microsoft.com/office/drawing/2014/main" id="{8FABBC5F-2082-412F-9EAB-2E21A310917A}"/>
                  </a:ext>
                </a:extLst>
              </p:cNvPr>
              <p:cNvSpPr/>
              <p:nvPr/>
            </p:nvSpPr>
            <p:spPr>
              <a:xfrm>
                <a:off x="7142565" y="3266159"/>
                <a:ext cx="161729" cy="200492"/>
              </a:xfrm>
              <a:custGeom>
                <a:avLst/>
                <a:gdLst>
                  <a:gd name="connsiteX0" fmla="*/ 84588 w 161729"/>
                  <a:gd name="connsiteY0" fmla="*/ 63509 h 200492"/>
                  <a:gd name="connsiteX1" fmla="*/ 110977 w 161729"/>
                  <a:gd name="connsiteY1" fmla="*/ 77744 h 200492"/>
                  <a:gd name="connsiteX2" fmla="*/ 56939 w 161729"/>
                  <a:gd name="connsiteY2" fmla="*/ 180290 h 200492"/>
                  <a:gd name="connsiteX3" fmla="*/ 36354 w 161729"/>
                  <a:gd name="connsiteY3" fmla="*/ 144429 h 200492"/>
                  <a:gd name="connsiteX4" fmla="*/ 84588 w 161729"/>
                  <a:gd name="connsiteY4" fmla="*/ 63345 h 200492"/>
                  <a:gd name="connsiteX5" fmla="*/ 161730 w 161729"/>
                  <a:gd name="connsiteY5" fmla="*/ 0 h 200492"/>
                  <a:gd name="connsiteX6" fmla="*/ 125431 w 161729"/>
                  <a:gd name="connsiteY6" fmla="*/ 0 h 200492"/>
                  <a:gd name="connsiteX7" fmla="*/ 115247 w 161729"/>
                  <a:gd name="connsiteY7" fmla="*/ 55735 h 200492"/>
                  <a:gd name="connsiteX8" fmla="*/ 80536 w 161729"/>
                  <a:gd name="connsiteY8" fmla="*/ 41610 h 200492"/>
                  <a:gd name="connsiteX9" fmla="*/ 0 w 161729"/>
                  <a:gd name="connsiteY9" fmla="*/ 144155 h 200492"/>
                  <a:gd name="connsiteX10" fmla="*/ 52121 w 161729"/>
                  <a:gd name="connsiteY10" fmla="*/ 200492 h 200492"/>
                  <a:gd name="connsiteX11" fmla="*/ 142786 w 161729"/>
                  <a:gd name="connsiteY11" fmla="*/ 101943 h 200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61729" h="200492">
                    <a:moveTo>
                      <a:pt x="84588" y="63509"/>
                    </a:moveTo>
                    <a:cubicBezTo>
                      <a:pt x="95414" y="62673"/>
                      <a:pt x="105730" y="68238"/>
                      <a:pt x="110977" y="77744"/>
                    </a:cubicBezTo>
                    <a:cubicBezTo>
                      <a:pt x="96030" y="158828"/>
                      <a:pt x="78127" y="180290"/>
                      <a:pt x="56939" y="180290"/>
                    </a:cubicBezTo>
                    <a:cubicBezTo>
                      <a:pt x="43745" y="180290"/>
                      <a:pt x="36354" y="166164"/>
                      <a:pt x="36354" y="144429"/>
                    </a:cubicBezTo>
                    <a:cubicBezTo>
                      <a:pt x="36354" y="102984"/>
                      <a:pt x="62579" y="63345"/>
                      <a:pt x="84588" y="63345"/>
                    </a:cubicBezTo>
                    <a:moveTo>
                      <a:pt x="161730" y="0"/>
                    </a:moveTo>
                    <a:lnTo>
                      <a:pt x="125431" y="0"/>
                    </a:lnTo>
                    <a:lnTo>
                      <a:pt x="115247" y="55735"/>
                    </a:lnTo>
                    <a:cubicBezTo>
                      <a:pt x="106156" y="46387"/>
                      <a:pt x="93571" y="41266"/>
                      <a:pt x="80536" y="41610"/>
                    </a:cubicBezTo>
                    <a:cubicBezTo>
                      <a:pt x="33288" y="41610"/>
                      <a:pt x="0" y="93731"/>
                      <a:pt x="0" y="144155"/>
                    </a:cubicBezTo>
                    <a:cubicBezTo>
                      <a:pt x="0" y="174158"/>
                      <a:pt x="21079" y="200492"/>
                      <a:pt x="52121" y="200492"/>
                    </a:cubicBezTo>
                    <a:cubicBezTo>
                      <a:pt x="118587" y="200492"/>
                      <a:pt x="134629" y="146455"/>
                      <a:pt x="142786" y="1019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="" xmlns:a16="http://schemas.microsoft.com/office/drawing/2014/main" id="{B7312AE0-F451-480B-AA2D-080FA8EE4AC7}"/>
                  </a:ext>
                </a:extLst>
              </p:cNvPr>
              <p:cNvSpPr/>
              <p:nvPr/>
            </p:nvSpPr>
            <p:spPr>
              <a:xfrm>
                <a:off x="6822555" y="3311492"/>
                <a:ext cx="64330" cy="151819"/>
              </a:xfrm>
              <a:custGeom>
                <a:avLst/>
                <a:gdLst>
                  <a:gd name="connsiteX0" fmla="*/ 64330 w 64330"/>
                  <a:gd name="connsiteY0" fmla="*/ 0 h 151819"/>
                  <a:gd name="connsiteX1" fmla="*/ 36244 w 64330"/>
                  <a:gd name="connsiteY1" fmla="*/ 151820 h 151819"/>
                  <a:gd name="connsiteX2" fmla="*/ 0 w 64330"/>
                  <a:gd name="connsiteY2" fmla="*/ 151820 h 151819"/>
                  <a:gd name="connsiteX3" fmla="*/ 28086 w 64330"/>
                  <a:gd name="connsiteY3" fmla="*/ 0 h 151819"/>
                  <a:gd name="connsiteX4" fmla="*/ 64330 w 64330"/>
                  <a:gd name="connsiteY4" fmla="*/ 0 h 151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330" h="151819">
                    <a:moveTo>
                      <a:pt x="64330" y="0"/>
                    </a:moveTo>
                    <a:lnTo>
                      <a:pt x="36244" y="151820"/>
                    </a:lnTo>
                    <a:lnTo>
                      <a:pt x="0" y="151820"/>
                    </a:lnTo>
                    <a:lnTo>
                      <a:pt x="28086" y="0"/>
                    </a:lnTo>
                    <a:lnTo>
                      <a:pt x="64330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="" xmlns:a16="http://schemas.microsoft.com/office/drawing/2014/main" id="{5204D0ED-84EC-4DA1-94D9-3487AFB64059}"/>
                  </a:ext>
                </a:extLst>
              </p:cNvPr>
              <p:cNvSpPr/>
              <p:nvPr/>
            </p:nvSpPr>
            <p:spPr>
              <a:xfrm>
                <a:off x="6856774" y="3250556"/>
                <a:ext cx="39528" cy="39529"/>
              </a:xfrm>
              <a:custGeom>
                <a:avLst/>
                <a:gdLst>
                  <a:gd name="connsiteX0" fmla="*/ 19764 w 39528"/>
                  <a:gd name="connsiteY0" fmla="*/ 0 h 39529"/>
                  <a:gd name="connsiteX1" fmla="*/ 0 w 39528"/>
                  <a:gd name="connsiteY1" fmla="*/ 19765 h 39529"/>
                  <a:gd name="connsiteX2" fmla="*/ 19765 w 39528"/>
                  <a:gd name="connsiteY2" fmla="*/ 39529 h 39529"/>
                  <a:gd name="connsiteX3" fmla="*/ 39529 w 39528"/>
                  <a:gd name="connsiteY3" fmla="*/ 19874 h 39529"/>
                  <a:gd name="connsiteX4" fmla="*/ 19764 w 39528"/>
                  <a:gd name="connsiteY4" fmla="*/ 0 h 395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9528" h="39529">
                    <a:moveTo>
                      <a:pt x="19764" y="0"/>
                    </a:moveTo>
                    <a:cubicBezTo>
                      <a:pt x="8849" y="0"/>
                      <a:pt x="0" y="8849"/>
                      <a:pt x="0" y="19765"/>
                    </a:cubicBezTo>
                    <a:cubicBezTo>
                      <a:pt x="0" y="30680"/>
                      <a:pt x="8849" y="39529"/>
                      <a:pt x="19765" y="39529"/>
                    </a:cubicBezTo>
                    <a:cubicBezTo>
                      <a:pt x="30638" y="39529"/>
                      <a:pt x="39469" y="30747"/>
                      <a:pt x="39529" y="19874"/>
                    </a:cubicBezTo>
                    <a:cubicBezTo>
                      <a:pt x="39559" y="8928"/>
                      <a:pt x="30710" y="30"/>
                      <a:pt x="19764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="" xmlns:a16="http://schemas.microsoft.com/office/drawing/2014/main" id="{26BEAC28-0FB1-4290-9B53-BA025410CB3B}"/>
                  </a:ext>
                </a:extLst>
              </p:cNvPr>
              <p:cNvSpPr/>
              <p:nvPr/>
            </p:nvSpPr>
            <p:spPr>
              <a:xfrm>
                <a:off x="6652996" y="3307550"/>
                <a:ext cx="149190" cy="155488"/>
              </a:xfrm>
              <a:custGeom>
                <a:avLst/>
                <a:gdLst>
                  <a:gd name="connsiteX0" fmla="*/ 95428 w 149190"/>
                  <a:gd name="connsiteY0" fmla="*/ 219 h 155488"/>
                  <a:gd name="connsiteX1" fmla="*/ 13304 w 149190"/>
                  <a:gd name="connsiteY1" fmla="*/ 84205 h 155488"/>
                  <a:gd name="connsiteX2" fmla="*/ 0 w 149190"/>
                  <a:gd name="connsiteY2" fmla="*/ 155379 h 155488"/>
                  <a:gd name="connsiteX3" fmla="*/ 36299 w 149190"/>
                  <a:gd name="connsiteY3" fmla="*/ 155379 h 155488"/>
                  <a:gd name="connsiteX4" fmla="*/ 52286 w 149190"/>
                  <a:gd name="connsiteY4" fmla="*/ 67780 h 155488"/>
                  <a:gd name="connsiteX5" fmla="*/ 90063 w 149190"/>
                  <a:gd name="connsiteY5" fmla="*/ 24856 h 155488"/>
                  <a:gd name="connsiteX6" fmla="*/ 113167 w 149190"/>
                  <a:gd name="connsiteY6" fmla="*/ 67889 h 155488"/>
                  <a:gd name="connsiteX7" fmla="*/ 97125 w 149190"/>
                  <a:gd name="connsiteY7" fmla="*/ 155488 h 155488"/>
                  <a:gd name="connsiteX8" fmla="*/ 133260 w 149190"/>
                  <a:gd name="connsiteY8" fmla="*/ 155488 h 155488"/>
                  <a:gd name="connsiteX9" fmla="*/ 146455 w 149190"/>
                  <a:gd name="connsiteY9" fmla="*/ 84314 h 155488"/>
                  <a:gd name="connsiteX10" fmla="*/ 95592 w 149190"/>
                  <a:gd name="connsiteY10" fmla="*/ 0 h 1554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190" h="155488">
                    <a:moveTo>
                      <a:pt x="95428" y="219"/>
                    </a:moveTo>
                    <a:cubicBezTo>
                      <a:pt x="47030" y="219"/>
                      <a:pt x="24254" y="25404"/>
                      <a:pt x="13304" y="84205"/>
                    </a:cubicBezTo>
                    <a:lnTo>
                      <a:pt x="0" y="155379"/>
                    </a:lnTo>
                    <a:lnTo>
                      <a:pt x="36299" y="155379"/>
                    </a:lnTo>
                    <a:lnTo>
                      <a:pt x="52286" y="67780"/>
                    </a:lnTo>
                    <a:cubicBezTo>
                      <a:pt x="57761" y="40405"/>
                      <a:pt x="69477" y="24856"/>
                      <a:pt x="90063" y="24856"/>
                    </a:cubicBezTo>
                    <a:cubicBezTo>
                      <a:pt x="111962" y="24856"/>
                      <a:pt x="117437" y="45770"/>
                      <a:pt x="113167" y="67889"/>
                    </a:cubicBezTo>
                    <a:lnTo>
                      <a:pt x="97125" y="155488"/>
                    </a:lnTo>
                    <a:lnTo>
                      <a:pt x="133260" y="155488"/>
                    </a:lnTo>
                    <a:lnTo>
                      <a:pt x="146455" y="84314"/>
                    </a:lnTo>
                    <a:cubicBezTo>
                      <a:pt x="155269" y="37120"/>
                      <a:pt x="143936" y="0"/>
                      <a:pt x="95592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="" xmlns:a16="http://schemas.microsoft.com/office/drawing/2014/main" id="{2C30E0F2-40AA-4F40-85B6-C84D5A5B1E13}"/>
                  </a:ext>
                </a:extLst>
              </p:cNvPr>
              <p:cNvSpPr/>
              <p:nvPr/>
            </p:nvSpPr>
            <p:spPr>
              <a:xfrm>
                <a:off x="6476996" y="3266159"/>
                <a:ext cx="182460" cy="200382"/>
              </a:xfrm>
              <a:custGeom>
                <a:avLst/>
                <a:gdLst>
                  <a:gd name="connsiteX0" fmla="*/ 138935 w 182460"/>
                  <a:gd name="connsiteY0" fmla="*/ 0 h 200382"/>
                  <a:gd name="connsiteX1" fmla="*/ 117035 w 182460"/>
                  <a:gd name="connsiteY1" fmla="*/ 118642 h 200382"/>
                  <a:gd name="connsiteX2" fmla="*/ 71648 w 182460"/>
                  <a:gd name="connsiteY2" fmla="*/ 170599 h 200382"/>
                  <a:gd name="connsiteX3" fmla="*/ 43452 w 182460"/>
                  <a:gd name="connsiteY3" fmla="*/ 118259 h 200382"/>
                  <a:gd name="connsiteX4" fmla="*/ 65351 w 182460"/>
                  <a:gd name="connsiteY4" fmla="*/ 0 h 200382"/>
                  <a:gd name="connsiteX5" fmla="*/ 21552 w 182460"/>
                  <a:gd name="connsiteY5" fmla="*/ 0 h 200382"/>
                  <a:gd name="connsiteX6" fmla="*/ 3101 w 182460"/>
                  <a:gd name="connsiteY6" fmla="*/ 98549 h 200382"/>
                  <a:gd name="connsiteX7" fmla="*/ 64804 w 182460"/>
                  <a:gd name="connsiteY7" fmla="*/ 200383 h 200382"/>
                  <a:gd name="connsiteX8" fmla="*/ 164229 w 182460"/>
                  <a:gd name="connsiteY8" fmla="*/ 98713 h 200382"/>
                  <a:gd name="connsiteX9" fmla="*/ 182460 w 182460"/>
                  <a:gd name="connsiteY9" fmla="*/ 0 h 200382"/>
                  <a:gd name="connsiteX10" fmla="*/ 138661 w 182460"/>
                  <a:gd name="connsiteY10" fmla="*/ 0 h 2003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82460" h="200382">
                    <a:moveTo>
                      <a:pt x="138935" y="0"/>
                    </a:moveTo>
                    <a:lnTo>
                      <a:pt x="117035" y="118642"/>
                    </a:lnTo>
                    <a:cubicBezTo>
                      <a:pt x="110574" y="151820"/>
                      <a:pt x="96504" y="170599"/>
                      <a:pt x="71648" y="170599"/>
                    </a:cubicBezTo>
                    <a:cubicBezTo>
                      <a:pt x="45313" y="170599"/>
                      <a:pt x="38470" y="145086"/>
                      <a:pt x="43452" y="118259"/>
                    </a:cubicBezTo>
                    <a:lnTo>
                      <a:pt x="65351" y="0"/>
                    </a:lnTo>
                    <a:lnTo>
                      <a:pt x="21552" y="0"/>
                    </a:lnTo>
                    <a:lnTo>
                      <a:pt x="3101" y="98549"/>
                    </a:lnTo>
                    <a:cubicBezTo>
                      <a:pt x="-6972" y="155652"/>
                      <a:pt x="5948" y="200383"/>
                      <a:pt x="64804" y="200383"/>
                    </a:cubicBezTo>
                    <a:cubicBezTo>
                      <a:pt x="123660" y="200383"/>
                      <a:pt x="150980" y="169997"/>
                      <a:pt x="164229" y="98713"/>
                    </a:cubicBezTo>
                    <a:lnTo>
                      <a:pt x="182460" y="0"/>
                    </a:lnTo>
                    <a:lnTo>
                      <a:pt x="138661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="" xmlns:a16="http://schemas.microsoft.com/office/drawing/2014/main" id="{346EB66A-56F1-4366-AAA0-477C7499BDED}"/>
                  </a:ext>
                </a:extLst>
              </p:cNvPr>
              <p:cNvSpPr/>
              <p:nvPr/>
            </p:nvSpPr>
            <p:spPr>
              <a:xfrm>
                <a:off x="7054473" y="3566350"/>
                <a:ext cx="104790" cy="124845"/>
              </a:xfrm>
              <a:custGeom>
                <a:avLst/>
                <a:gdLst>
                  <a:gd name="connsiteX0" fmla="*/ 67342 w 104790"/>
                  <a:gd name="connsiteY0" fmla="*/ 18067 h 124845"/>
                  <a:gd name="connsiteX1" fmla="*/ 78292 w 104790"/>
                  <a:gd name="connsiteY1" fmla="*/ 27060 h 124845"/>
                  <a:gd name="connsiteX2" fmla="*/ 78292 w 104790"/>
                  <a:gd name="connsiteY2" fmla="*/ 29017 h 124845"/>
                  <a:gd name="connsiteX3" fmla="*/ 32904 w 104790"/>
                  <a:gd name="connsiteY3" fmla="*/ 60279 h 124845"/>
                  <a:gd name="connsiteX4" fmla="*/ 67396 w 104790"/>
                  <a:gd name="connsiteY4" fmla="*/ 18013 h 124845"/>
                  <a:gd name="connsiteX5" fmla="*/ 104790 w 104790"/>
                  <a:gd name="connsiteY5" fmla="*/ 24692 h 124845"/>
                  <a:gd name="connsiteX6" fmla="*/ 74678 w 104790"/>
                  <a:gd name="connsiteY6" fmla="*/ 0 h 124845"/>
                  <a:gd name="connsiteX7" fmla="*/ 0 w 104790"/>
                  <a:gd name="connsiteY7" fmla="*/ 80701 h 124845"/>
                  <a:gd name="connsiteX8" fmla="*/ 38325 w 104790"/>
                  <a:gd name="connsiteY8" fmla="*/ 124829 h 124845"/>
                  <a:gd name="connsiteX9" fmla="*/ 89679 w 104790"/>
                  <a:gd name="connsiteY9" fmla="*/ 108404 h 124845"/>
                  <a:gd name="connsiteX10" fmla="*/ 84697 w 104790"/>
                  <a:gd name="connsiteY10" fmla="*/ 97454 h 124845"/>
                  <a:gd name="connsiteX11" fmla="*/ 50753 w 104790"/>
                  <a:gd name="connsiteY11" fmla="*/ 104845 h 124845"/>
                  <a:gd name="connsiteX12" fmla="*/ 31262 w 104790"/>
                  <a:gd name="connsiteY12" fmla="*/ 72871 h 124845"/>
                  <a:gd name="connsiteX13" fmla="*/ 104736 w 104790"/>
                  <a:gd name="connsiteY13" fmla="*/ 24582 h 1248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04790" h="124845">
                    <a:moveTo>
                      <a:pt x="67342" y="18067"/>
                    </a:moveTo>
                    <a:cubicBezTo>
                      <a:pt x="72849" y="17527"/>
                      <a:pt x="77751" y="21553"/>
                      <a:pt x="78292" y="27060"/>
                    </a:cubicBezTo>
                    <a:cubicBezTo>
                      <a:pt x="78356" y="27711"/>
                      <a:pt x="78356" y="28366"/>
                      <a:pt x="78292" y="29017"/>
                    </a:cubicBezTo>
                    <a:cubicBezTo>
                      <a:pt x="78292" y="43581"/>
                      <a:pt x="56392" y="56720"/>
                      <a:pt x="32904" y="60279"/>
                    </a:cubicBezTo>
                    <a:cubicBezTo>
                      <a:pt x="39748" y="34492"/>
                      <a:pt x="52012" y="18013"/>
                      <a:pt x="67396" y="18013"/>
                    </a:cubicBezTo>
                    <a:moveTo>
                      <a:pt x="104790" y="24692"/>
                    </a:moveTo>
                    <a:cubicBezTo>
                      <a:pt x="104790" y="7501"/>
                      <a:pt x="87982" y="0"/>
                      <a:pt x="74678" y="0"/>
                    </a:cubicBezTo>
                    <a:cubicBezTo>
                      <a:pt x="27922" y="0"/>
                      <a:pt x="0" y="47522"/>
                      <a:pt x="0" y="80701"/>
                    </a:cubicBezTo>
                    <a:cubicBezTo>
                      <a:pt x="0" y="109334"/>
                      <a:pt x="16425" y="124829"/>
                      <a:pt x="38325" y="124829"/>
                    </a:cubicBezTo>
                    <a:cubicBezTo>
                      <a:pt x="56790" y="125196"/>
                      <a:pt x="74854" y="119419"/>
                      <a:pt x="89679" y="108404"/>
                    </a:cubicBezTo>
                    <a:lnTo>
                      <a:pt x="84697" y="97454"/>
                    </a:lnTo>
                    <a:cubicBezTo>
                      <a:pt x="74712" y="104093"/>
                      <a:pt x="62594" y="106732"/>
                      <a:pt x="50753" y="104845"/>
                    </a:cubicBezTo>
                    <a:cubicBezTo>
                      <a:pt x="30550" y="100137"/>
                      <a:pt x="30331" y="83328"/>
                      <a:pt x="31262" y="72871"/>
                    </a:cubicBezTo>
                    <a:cubicBezTo>
                      <a:pt x="57323" y="71886"/>
                      <a:pt x="104736" y="58910"/>
                      <a:pt x="104736" y="2458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="" xmlns:a16="http://schemas.microsoft.com/office/drawing/2014/main" id="{50707180-598C-469D-A496-B56C5D57664B}"/>
                  </a:ext>
                </a:extLst>
              </p:cNvPr>
              <p:cNvSpPr/>
              <p:nvPr/>
            </p:nvSpPr>
            <p:spPr>
              <a:xfrm>
                <a:off x="6915912" y="3533117"/>
                <a:ext cx="73300" cy="157897"/>
              </a:xfrm>
              <a:custGeom>
                <a:avLst/>
                <a:gdLst>
                  <a:gd name="connsiteX0" fmla="*/ 55069 w 73300"/>
                  <a:gd name="connsiteY0" fmla="*/ 138023 h 157897"/>
                  <a:gd name="connsiteX1" fmla="*/ 60051 w 73300"/>
                  <a:gd name="connsiteY1" fmla="*/ 148973 h 157897"/>
                  <a:gd name="connsiteX2" fmla="*/ 28077 w 73300"/>
                  <a:gd name="connsiteY2" fmla="*/ 157897 h 157897"/>
                  <a:gd name="connsiteX3" fmla="*/ 1579 w 73300"/>
                  <a:gd name="connsiteY3" fmla="*/ 115412 h 157897"/>
                  <a:gd name="connsiteX4" fmla="*/ 23150 w 73300"/>
                  <a:gd name="connsiteY4" fmla="*/ 0 h 157897"/>
                  <a:gd name="connsiteX5" fmla="*/ 51620 w 73300"/>
                  <a:gd name="connsiteY5" fmla="*/ 0 h 157897"/>
                  <a:gd name="connsiteX6" fmla="*/ 44885 w 73300"/>
                  <a:gd name="connsiteY6" fmla="*/ 36135 h 157897"/>
                  <a:gd name="connsiteX7" fmla="*/ 73300 w 73300"/>
                  <a:gd name="connsiteY7" fmla="*/ 36135 h 157897"/>
                  <a:gd name="connsiteX8" fmla="*/ 70508 w 73300"/>
                  <a:gd name="connsiteY8" fmla="*/ 52559 h 157897"/>
                  <a:gd name="connsiteX9" fmla="*/ 41984 w 73300"/>
                  <a:gd name="connsiteY9" fmla="*/ 52559 h 157897"/>
                  <a:gd name="connsiteX10" fmla="*/ 31034 w 73300"/>
                  <a:gd name="connsiteY10" fmla="*/ 111743 h 157897"/>
                  <a:gd name="connsiteX11" fmla="*/ 55343 w 73300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300" h="157897">
                    <a:moveTo>
                      <a:pt x="55069" y="138023"/>
                    </a:moveTo>
                    <a:lnTo>
                      <a:pt x="60051" y="148973"/>
                    </a:lnTo>
                    <a:cubicBezTo>
                      <a:pt x="50378" y="154742"/>
                      <a:pt x="39340" y="157823"/>
                      <a:pt x="28077" y="157897"/>
                    </a:cubicBezTo>
                    <a:cubicBezTo>
                      <a:pt x="7273" y="157897"/>
                      <a:pt x="-4444" y="146947"/>
                      <a:pt x="1579" y="115412"/>
                    </a:cubicBezTo>
                    <a:lnTo>
                      <a:pt x="23150" y="0"/>
                    </a:lnTo>
                    <a:lnTo>
                      <a:pt x="51620" y="0"/>
                    </a:lnTo>
                    <a:lnTo>
                      <a:pt x="44885" y="36135"/>
                    </a:lnTo>
                    <a:lnTo>
                      <a:pt x="73300" y="36135"/>
                    </a:lnTo>
                    <a:lnTo>
                      <a:pt x="70508" y="52559"/>
                    </a:lnTo>
                    <a:lnTo>
                      <a:pt x="41984" y="52559"/>
                    </a:lnTo>
                    <a:lnTo>
                      <a:pt x="31034" y="111743"/>
                    </a:lnTo>
                    <a:cubicBezTo>
                      <a:pt x="24847" y="145907"/>
                      <a:pt x="41984" y="142841"/>
                      <a:pt x="55343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="" xmlns:a16="http://schemas.microsoft.com/office/drawing/2014/main" id="{51EEF882-7A59-4643-AA8F-C0E171AE2EF0}"/>
                  </a:ext>
                </a:extLst>
              </p:cNvPr>
              <p:cNvSpPr/>
              <p:nvPr/>
            </p:nvSpPr>
            <p:spPr>
              <a:xfrm>
                <a:off x="6636935" y="3533117"/>
                <a:ext cx="73219" cy="157897"/>
              </a:xfrm>
              <a:custGeom>
                <a:avLst/>
                <a:gdLst>
                  <a:gd name="connsiteX0" fmla="*/ 54988 w 73219"/>
                  <a:gd name="connsiteY0" fmla="*/ 138023 h 157897"/>
                  <a:gd name="connsiteX1" fmla="*/ 59970 w 73219"/>
                  <a:gd name="connsiteY1" fmla="*/ 148973 h 157897"/>
                  <a:gd name="connsiteX2" fmla="*/ 27996 w 73219"/>
                  <a:gd name="connsiteY2" fmla="*/ 157897 h 157897"/>
                  <a:gd name="connsiteX3" fmla="*/ 1552 w 73219"/>
                  <a:gd name="connsiteY3" fmla="*/ 115412 h 157897"/>
                  <a:gd name="connsiteX4" fmla="*/ 22905 w 73219"/>
                  <a:gd name="connsiteY4" fmla="*/ 0 h 157897"/>
                  <a:gd name="connsiteX5" fmla="*/ 51374 w 73219"/>
                  <a:gd name="connsiteY5" fmla="*/ 0 h 157897"/>
                  <a:gd name="connsiteX6" fmla="*/ 44804 w 73219"/>
                  <a:gd name="connsiteY6" fmla="*/ 36135 h 157897"/>
                  <a:gd name="connsiteX7" fmla="*/ 73219 w 73219"/>
                  <a:gd name="connsiteY7" fmla="*/ 36135 h 157897"/>
                  <a:gd name="connsiteX8" fmla="*/ 70317 w 73219"/>
                  <a:gd name="connsiteY8" fmla="*/ 52559 h 157897"/>
                  <a:gd name="connsiteX9" fmla="*/ 41738 w 73219"/>
                  <a:gd name="connsiteY9" fmla="*/ 52559 h 157897"/>
                  <a:gd name="connsiteX10" fmla="*/ 30788 w 73219"/>
                  <a:gd name="connsiteY10" fmla="*/ 111743 h 157897"/>
                  <a:gd name="connsiteX11" fmla="*/ 55042 w 73219"/>
                  <a:gd name="connsiteY11" fmla="*/ 138023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73219" h="157897">
                    <a:moveTo>
                      <a:pt x="54988" y="138023"/>
                    </a:moveTo>
                    <a:lnTo>
                      <a:pt x="59970" y="148973"/>
                    </a:lnTo>
                    <a:cubicBezTo>
                      <a:pt x="50300" y="154749"/>
                      <a:pt x="39260" y="157831"/>
                      <a:pt x="27996" y="157897"/>
                    </a:cubicBezTo>
                    <a:cubicBezTo>
                      <a:pt x="7082" y="157897"/>
                      <a:pt x="-4361" y="146947"/>
                      <a:pt x="1552" y="115412"/>
                    </a:cubicBezTo>
                    <a:lnTo>
                      <a:pt x="22905" y="0"/>
                    </a:lnTo>
                    <a:lnTo>
                      <a:pt x="51374" y="0"/>
                    </a:lnTo>
                    <a:lnTo>
                      <a:pt x="44804" y="36135"/>
                    </a:lnTo>
                    <a:lnTo>
                      <a:pt x="73219" y="36135"/>
                    </a:lnTo>
                    <a:lnTo>
                      <a:pt x="70317" y="52559"/>
                    </a:lnTo>
                    <a:lnTo>
                      <a:pt x="41738" y="52559"/>
                    </a:lnTo>
                    <a:lnTo>
                      <a:pt x="30788" y="111743"/>
                    </a:lnTo>
                    <a:cubicBezTo>
                      <a:pt x="24547" y="145907"/>
                      <a:pt x="41355" y="142841"/>
                      <a:pt x="55042" y="138023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="" xmlns:a16="http://schemas.microsoft.com/office/drawing/2014/main" id="{B95DB522-B5A6-4A7D-A85D-0A257D85E62B}"/>
                  </a:ext>
                </a:extLst>
              </p:cNvPr>
              <p:cNvSpPr/>
              <p:nvPr/>
            </p:nvSpPr>
            <p:spPr>
              <a:xfrm>
                <a:off x="6712071" y="3569471"/>
                <a:ext cx="50533" cy="118860"/>
              </a:xfrm>
              <a:custGeom>
                <a:avLst/>
                <a:gdLst>
                  <a:gd name="connsiteX0" fmla="*/ 50534 w 50533"/>
                  <a:gd name="connsiteY0" fmla="*/ 0 h 118860"/>
                  <a:gd name="connsiteX1" fmla="*/ 28524 w 50533"/>
                  <a:gd name="connsiteY1" fmla="*/ 118861 h 118860"/>
                  <a:gd name="connsiteX2" fmla="*/ 0 w 50533"/>
                  <a:gd name="connsiteY2" fmla="*/ 118861 h 118860"/>
                  <a:gd name="connsiteX3" fmla="*/ 22228 w 50533"/>
                  <a:gd name="connsiteY3" fmla="*/ 0 h 118860"/>
                  <a:gd name="connsiteX4" fmla="*/ 50534 w 5053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533" h="118860">
                    <a:moveTo>
                      <a:pt x="50534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228" y="0"/>
                    </a:lnTo>
                    <a:lnTo>
                      <a:pt x="50534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="" xmlns:a16="http://schemas.microsoft.com/office/drawing/2014/main" id="{AD334128-27CC-49C9-85C3-5DB93770D1D0}"/>
                  </a:ext>
                </a:extLst>
              </p:cNvPr>
              <p:cNvSpPr/>
              <p:nvPr/>
            </p:nvSpPr>
            <p:spPr>
              <a:xfrm>
                <a:off x="6739765" y="3521291"/>
                <a:ext cx="29254" cy="31042"/>
              </a:xfrm>
              <a:custGeom>
                <a:avLst/>
                <a:gdLst>
                  <a:gd name="connsiteX0" fmla="*/ 14627 w 29254"/>
                  <a:gd name="connsiteY0" fmla="*/ 0 h 31042"/>
                  <a:gd name="connsiteX1" fmla="*/ 28 w 29254"/>
                  <a:gd name="connsiteY1" fmla="*/ 16444 h 31042"/>
                  <a:gd name="connsiteX2" fmla="*/ 14627 w 29254"/>
                  <a:gd name="connsiteY2" fmla="*/ 31043 h 31042"/>
                  <a:gd name="connsiteX3" fmla="*/ 29226 w 29254"/>
                  <a:gd name="connsiteY3" fmla="*/ 14599 h 31042"/>
                  <a:gd name="connsiteX4" fmla="*/ 14627 w 29254"/>
                  <a:gd name="connsiteY4" fmla="*/ 0 h 310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254" h="31042">
                    <a:moveTo>
                      <a:pt x="14627" y="0"/>
                    </a:moveTo>
                    <a:cubicBezTo>
                      <a:pt x="6055" y="509"/>
                      <a:pt x="-481" y="7871"/>
                      <a:pt x="28" y="16444"/>
                    </a:cubicBezTo>
                    <a:cubicBezTo>
                      <a:pt x="495" y="24305"/>
                      <a:pt x="6766" y="30576"/>
                      <a:pt x="14627" y="31043"/>
                    </a:cubicBezTo>
                    <a:cubicBezTo>
                      <a:pt x="23199" y="30534"/>
                      <a:pt x="29736" y="23171"/>
                      <a:pt x="29226" y="14599"/>
                    </a:cubicBezTo>
                    <a:cubicBezTo>
                      <a:pt x="28759" y="6738"/>
                      <a:pt x="22488" y="467"/>
                      <a:pt x="14627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="" xmlns:a16="http://schemas.microsoft.com/office/drawing/2014/main" id="{001EF51E-4933-4AC5-9583-82375E333052}"/>
                  </a:ext>
                </a:extLst>
              </p:cNvPr>
              <p:cNvSpPr/>
              <p:nvPr/>
            </p:nvSpPr>
            <p:spPr>
              <a:xfrm>
                <a:off x="6847795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524 w 50643"/>
                  <a:gd name="connsiteY1" fmla="*/ 118861 h 118860"/>
                  <a:gd name="connsiteX2" fmla="*/ 0 w 50643"/>
                  <a:gd name="connsiteY2" fmla="*/ 118861 h 118860"/>
                  <a:gd name="connsiteX3" fmla="*/ 2211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524" y="118861"/>
                    </a:lnTo>
                    <a:lnTo>
                      <a:pt x="0" y="118861"/>
                    </a:lnTo>
                    <a:lnTo>
                      <a:pt x="2211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="" xmlns:a16="http://schemas.microsoft.com/office/drawing/2014/main" id="{8618FA45-5D92-4725-93F8-C47C8E9FDBA7}"/>
                  </a:ext>
                </a:extLst>
              </p:cNvPr>
              <p:cNvSpPr/>
              <p:nvPr/>
            </p:nvSpPr>
            <p:spPr>
              <a:xfrm>
                <a:off x="6874622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8 w 31097"/>
                  <a:gd name="connsiteY4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28" y="7084"/>
                      <a:pt x="24233" y="91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="" xmlns:a16="http://schemas.microsoft.com/office/drawing/2014/main" id="{E94D031C-CB72-4958-B0A5-F23DEEB7AC04}"/>
                  </a:ext>
                </a:extLst>
              </p:cNvPr>
              <p:cNvSpPr/>
              <p:nvPr/>
            </p:nvSpPr>
            <p:spPr>
              <a:xfrm>
                <a:off x="6991566" y="3569471"/>
                <a:ext cx="50643" cy="118860"/>
              </a:xfrm>
              <a:custGeom>
                <a:avLst/>
                <a:gdLst>
                  <a:gd name="connsiteX0" fmla="*/ 50643 w 50643"/>
                  <a:gd name="connsiteY0" fmla="*/ 0 h 118860"/>
                  <a:gd name="connsiteX1" fmla="*/ 28415 w 50643"/>
                  <a:gd name="connsiteY1" fmla="*/ 118861 h 118860"/>
                  <a:gd name="connsiteX2" fmla="*/ 0 w 50643"/>
                  <a:gd name="connsiteY2" fmla="*/ 118861 h 118860"/>
                  <a:gd name="connsiteX3" fmla="*/ 22009 w 50643"/>
                  <a:gd name="connsiteY3" fmla="*/ 0 h 118860"/>
                  <a:gd name="connsiteX4" fmla="*/ 50643 w 50643"/>
                  <a:gd name="connsiteY4" fmla="*/ 0 h 1188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0643" h="118860">
                    <a:moveTo>
                      <a:pt x="50643" y="0"/>
                    </a:moveTo>
                    <a:lnTo>
                      <a:pt x="28415" y="118861"/>
                    </a:lnTo>
                    <a:lnTo>
                      <a:pt x="0" y="118861"/>
                    </a:lnTo>
                    <a:lnTo>
                      <a:pt x="22009" y="0"/>
                    </a:lnTo>
                    <a:lnTo>
                      <a:pt x="50643" y="0"/>
                    </a:lnTo>
                    <a:close/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="" xmlns:a16="http://schemas.microsoft.com/office/drawing/2014/main" id="{5D5E08ED-E823-4BCB-9F45-D1C4E50E8973}"/>
                  </a:ext>
                </a:extLst>
              </p:cNvPr>
              <p:cNvSpPr/>
              <p:nvPr/>
            </p:nvSpPr>
            <p:spPr>
              <a:xfrm>
                <a:off x="7018339" y="3521291"/>
                <a:ext cx="31097" cy="31097"/>
              </a:xfrm>
              <a:custGeom>
                <a:avLst/>
                <a:gdLst>
                  <a:gd name="connsiteX0" fmla="*/ 15658 w 31097"/>
                  <a:gd name="connsiteY0" fmla="*/ 0 h 31097"/>
                  <a:gd name="connsiteX1" fmla="*/ 0 w 31097"/>
                  <a:gd name="connsiteY1" fmla="*/ 15440 h 31097"/>
                  <a:gd name="connsiteX2" fmla="*/ 15440 w 31097"/>
                  <a:gd name="connsiteY2" fmla="*/ 31097 h 31097"/>
                  <a:gd name="connsiteX3" fmla="*/ 31097 w 31097"/>
                  <a:gd name="connsiteY3" fmla="*/ 15659 h 31097"/>
                  <a:gd name="connsiteX4" fmla="*/ 15659 w 31097"/>
                  <a:gd name="connsiteY4" fmla="*/ 0 h 31097"/>
                  <a:gd name="connsiteX5" fmla="*/ 15658 w 31097"/>
                  <a:gd name="connsiteY5" fmla="*/ 0 h 31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1097" h="31097">
                    <a:moveTo>
                      <a:pt x="15658" y="0"/>
                    </a:moveTo>
                    <a:cubicBezTo>
                      <a:pt x="7071" y="-60"/>
                      <a:pt x="61" y="6853"/>
                      <a:pt x="0" y="15440"/>
                    </a:cubicBezTo>
                    <a:cubicBezTo>
                      <a:pt x="-60" y="24027"/>
                      <a:pt x="6853" y="31037"/>
                      <a:pt x="15440" y="31097"/>
                    </a:cubicBezTo>
                    <a:cubicBezTo>
                      <a:pt x="24027" y="31158"/>
                      <a:pt x="31037" y="24246"/>
                      <a:pt x="31097" y="15659"/>
                    </a:cubicBezTo>
                    <a:cubicBezTo>
                      <a:pt x="31158" y="7072"/>
                      <a:pt x="24246" y="61"/>
                      <a:pt x="15659" y="0"/>
                    </a:cubicBezTo>
                    <a:cubicBezTo>
                      <a:pt x="15659" y="0"/>
                      <a:pt x="15658" y="0"/>
                      <a:pt x="15658" y="0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="" xmlns:a16="http://schemas.microsoft.com/office/drawing/2014/main" id="{6088BAC0-429A-42E8-982B-E75DDE2BEA8B}"/>
                  </a:ext>
                </a:extLst>
              </p:cNvPr>
              <p:cNvSpPr/>
              <p:nvPr/>
            </p:nvSpPr>
            <p:spPr>
              <a:xfrm>
                <a:off x="7160140" y="3566391"/>
                <a:ext cx="96139" cy="124678"/>
              </a:xfrm>
              <a:custGeom>
                <a:avLst/>
                <a:gdLst>
                  <a:gd name="connsiteX0" fmla="*/ 96030 w 96139"/>
                  <a:gd name="connsiteY0" fmla="*/ 13592 h 124678"/>
                  <a:gd name="connsiteX1" fmla="*/ 90939 w 96139"/>
                  <a:gd name="connsiteY1" fmla="*/ 24542 h 124678"/>
                  <a:gd name="connsiteX2" fmla="*/ 90939 w 96139"/>
                  <a:gd name="connsiteY2" fmla="*/ 24542 h 124678"/>
                  <a:gd name="connsiteX3" fmla="*/ 48070 w 96139"/>
                  <a:gd name="connsiteY3" fmla="*/ 30017 h 124678"/>
                  <a:gd name="connsiteX4" fmla="*/ 89187 w 96139"/>
                  <a:gd name="connsiteY4" fmla="*/ 87558 h 124678"/>
                  <a:gd name="connsiteX5" fmla="*/ 41062 w 96139"/>
                  <a:gd name="connsiteY5" fmla="*/ 124678 h 124678"/>
                  <a:gd name="connsiteX6" fmla="*/ 0 w 96139"/>
                  <a:gd name="connsiteY6" fmla="*/ 108254 h 124678"/>
                  <a:gd name="connsiteX7" fmla="*/ 4927 w 96139"/>
                  <a:gd name="connsiteY7" fmla="*/ 97304 h 124678"/>
                  <a:gd name="connsiteX8" fmla="*/ 55899 w 96139"/>
                  <a:gd name="connsiteY8" fmla="*/ 91829 h 124678"/>
                  <a:gd name="connsiteX9" fmla="*/ 14782 w 96139"/>
                  <a:gd name="connsiteY9" fmla="*/ 38339 h 124678"/>
                  <a:gd name="connsiteX10" fmla="*/ 55461 w 96139"/>
                  <a:gd name="connsiteY10" fmla="*/ 14 h 124678"/>
                  <a:gd name="connsiteX11" fmla="*/ 96140 w 96139"/>
                  <a:gd name="connsiteY11" fmla="*/ 13592 h 1246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96139" h="124678">
                    <a:moveTo>
                      <a:pt x="96030" y="13592"/>
                    </a:moveTo>
                    <a:lnTo>
                      <a:pt x="90939" y="24542"/>
                    </a:lnTo>
                    <a:lnTo>
                      <a:pt x="90939" y="24542"/>
                    </a:lnTo>
                    <a:cubicBezTo>
                      <a:pt x="61648" y="7350"/>
                      <a:pt x="48070" y="19833"/>
                      <a:pt x="48070" y="30017"/>
                    </a:cubicBezTo>
                    <a:cubicBezTo>
                      <a:pt x="48070" y="50986"/>
                      <a:pt x="89187" y="54106"/>
                      <a:pt x="89187" y="87558"/>
                    </a:cubicBezTo>
                    <a:cubicBezTo>
                      <a:pt x="89187" y="104312"/>
                      <a:pt x="75226" y="124678"/>
                      <a:pt x="41062" y="124678"/>
                    </a:cubicBezTo>
                    <a:cubicBezTo>
                      <a:pt x="25939" y="123878"/>
                      <a:pt x="11503" y="118104"/>
                      <a:pt x="0" y="108254"/>
                    </a:cubicBezTo>
                    <a:lnTo>
                      <a:pt x="4927" y="97304"/>
                    </a:lnTo>
                    <a:cubicBezTo>
                      <a:pt x="27922" y="114112"/>
                      <a:pt x="55899" y="107487"/>
                      <a:pt x="55899" y="91829"/>
                    </a:cubicBezTo>
                    <a:cubicBezTo>
                      <a:pt x="55899" y="71900"/>
                      <a:pt x="14782" y="64837"/>
                      <a:pt x="14782" y="38339"/>
                    </a:cubicBezTo>
                    <a:cubicBezTo>
                      <a:pt x="14782" y="10964"/>
                      <a:pt x="42157" y="14"/>
                      <a:pt x="55461" y="14"/>
                    </a:cubicBezTo>
                    <a:cubicBezTo>
                      <a:pt x="70182" y="-295"/>
                      <a:pt x="84556" y="4503"/>
                      <a:pt x="96140" y="13592"/>
                    </a:cubicBez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="" xmlns:a16="http://schemas.microsoft.com/office/drawing/2014/main" id="{BD557A81-967E-4C09-83DA-D8EC2CF35B6E}"/>
                  </a:ext>
                </a:extLst>
              </p:cNvPr>
              <p:cNvSpPr/>
              <p:nvPr/>
            </p:nvSpPr>
            <p:spPr>
              <a:xfrm>
                <a:off x="6476103" y="3533336"/>
                <a:ext cx="149518" cy="157897"/>
              </a:xfrm>
              <a:custGeom>
                <a:avLst/>
                <a:gdLst>
                  <a:gd name="connsiteX0" fmla="*/ 113494 w 149518"/>
                  <a:gd name="connsiteY0" fmla="*/ 0 h 157897"/>
                  <a:gd name="connsiteX1" fmla="*/ 97069 w 149518"/>
                  <a:gd name="connsiteY1" fmla="*/ 90117 h 157897"/>
                  <a:gd name="connsiteX2" fmla="*/ 59292 w 149518"/>
                  <a:gd name="connsiteY2" fmla="*/ 133096 h 157897"/>
                  <a:gd name="connsiteX3" fmla="*/ 36243 w 149518"/>
                  <a:gd name="connsiteY3" fmla="*/ 90008 h 157897"/>
                  <a:gd name="connsiteX4" fmla="*/ 52667 w 149518"/>
                  <a:gd name="connsiteY4" fmla="*/ 0 h 157897"/>
                  <a:gd name="connsiteX5" fmla="*/ 16423 w 149518"/>
                  <a:gd name="connsiteY5" fmla="*/ 0 h 157897"/>
                  <a:gd name="connsiteX6" fmla="*/ 2736 w 149518"/>
                  <a:gd name="connsiteY6" fmla="*/ 73857 h 157897"/>
                  <a:gd name="connsiteX7" fmla="*/ 53653 w 149518"/>
                  <a:gd name="connsiteY7" fmla="*/ 157897 h 157897"/>
                  <a:gd name="connsiteX8" fmla="*/ 135777 w 149518"/>
                  <a:gd name="connsiteY8" fmla="*/ 74076 h 157897"/>
                  <a:gd name="connsiteX9" fmla="*/ 149519 w 149518"/>
                  <a:gd name="connsiteY9" fmla="*/ 0 h 157897"/>
                  <a:gd name="connsiteX10" fmla="*/ 113384 w 149518"/>
                  <a:gd name="connsiteY10" fmla="*/ 0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49518" h="157897">
                    <a:moveTo>
                      <a:pt x="113494" y="0"/>
                    </a:moveTo>
                    <a:lnTo>
                      <a:pt x="97069" y="90117"/>
                    </a:lnTo>
                    <a:cubicBezTo>
                      <a:pt x="91594" y="117492"/>
                      <a:pt x="79604" y="133096"/>
                      <a:pt x="59292" y="133096"/>
                    </a:cubicBezTo>
                    <a:cubicBezTo>
                      <a:pt x="37721" y="133096"/>
                      <a:pt x="31917" y="112127"/>
                      <a:pt x="36243" y="90008"/>
                    </a:cubicBezTo>
                    <a:lnTo>
                      <a:pt x="52667" y="0"/>
                    </a:lnTo>
                    <a:lnTo>
                      <a:pt x="16423" y="0"/>
                    </a:lnTo>
                    <a:lnTo>
                      <a:pt x="2736" y="73857"/>
                    </a:lnTo>
                    <a:cubicBezTo>
                      <a:pt x="-6079" y="120777"/>
                      <a:pt x="5254" y="157897"/>
                      <a:pt x="53653" y="157897"/>
                    </a:cubicBezTo>
                    <a:cubicBezTo>
                      <a:pt x="102051" y="157897"/>
                      <a:pt x="125210" y="132767"/>
                      <a:pt x="135777" y="74076"/>
                    </a:cubicBezTo>
                    <a:lnTo>
                      <a:pt x="149519" y="0"/>
                    </a:lnTo>
                    <a:lnTo>
                      <a:pt x="113384" y="0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="" xmlns:a16="http://schemas.microsoft.com/office/drawing/2014/main" id="{9E069ABC-3837-4A6A-BCF6-AED030122123}"/>
                  </a:ext>
                </a:extLst>
              </p:cNvPr>
              <p:cNvSpPr/>
              <p:nvPr/>
            </p:nvSpPr>
            <p:spPr>
              <a:xfrm>
                <a:off x="6782764" y="3533336"/>
                <a:ext cx="52273" cy="157897"/>
              </a:xfrm>
              <a:custGeom>
                <a:avLst/>
                <a:gdLst>
                  <a:gd name="connsiteX0" fmla="*/ 47401 w 52273"/>
                  <a:gd name="connsiteY0" fmla="*/ 140104 h 157897"/>
                  <a:gd name="connsiteX1" fmla="*/ 30976 w 52273"/>
                  <a:gd name="connsiteY1" fmla="*/ 111524 h 157897"/>
                  <a:gd name="connsiteX2" fmla="*/ 51672 w 52273"/>
                  <a:gd name="connsiteY2" fmla="*/ 0 h 157897"/>
                  <a:gd name="connsiteX3" fmla="*/ 23202 w 52273"/>
                  <a:gd name="connsiteY3" fmla="*/ 0 h 157897"/>
                  <a:gd name="connsiteX4" fmla="*/ 1576 w 52273"/>
                  <a:gd name="connsiteY4" fmla="*/ 115357 h 157897"/>
                  <a:gd name="connsiteX5" fmla="*/ 28075 w 52273"/>
                  <a:gd name="connsiteY5" fmla="*/ 157897 h 157897"/>
                  <a:gd name="connsiteX6" fmla="*/ 52274 w 52273"/>
                  <a:gd name="connsiteY6" fmla="*/ 151053 h 157897"/>
                  <a:gd name="connsiteX7" fmla="*/ 47401 w 52273"/>
                  <a:gd name="connsiteY7" fmla="*/ 140104 h 1578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2273" h="157897">
                    <a:moveTo>
                      <a:pt x="47401" y="140104"/>
                    </a:moveTo>
                    <a:cubicBezTo>
                      <a:pt x="35959" y="143279"/>
                      <a:pt x="24461" y="141253"/>
                      <a:pt x="30976" y="111524"/>
                    </a:cubicBezTo>
                    <a:lnTo>
                      <a:pt x="51672" y="0"/>
                    </a:lnTo>
                    <a:lnTo>
                      <a:pt x="23202" y="0"/>
                    </a:lnTo>
                    <a:lnTo>
                      <a:pt x="1576" y="115357"/>
                    </a:lnTo>
                    <a:cubicBezTo>
                      <a:pt x="-4392" y="147221"/>
                      <a:pt x="7051" y="157897"/>
                      <a:pt x="28075" y="157897"/>
                    </a:cubicBezTo>
                    <a:cubicBezTo>
                      <a:pt x="36570" y="157567"/>
                      <a:pt x="44864" y="155222"/>
                      <a:pt x="52274" y="151053"/>
                    </a:cubicBezTo>
                    <a:lnTo>
                      <a:pt x="47401" y="140104"/>
                    </a:lnTo>
                  </a:path>
                </a:pathLst>
              </a:custGeom>
              <a:solidFill>
                <a:srgbClr val="FFFFFF"/>
              </a:solidFill>
              <a:ln w="546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/>
              </a:p>
            </p:txBody>
          </p:sp>
        </p:grpSp>
        <p:pic>
          <p:nvPicPr>
            <p:cNvPr id="61" name="Graphic 60">
              <a:extLst>
                <a:ext uri="{FF2B5EF4-FFF2-40B4-BE49-F238E27FC236}">
                  <a16:creationId xmlns="" xmlns:a16="http://schemas.microsoft.com/office/drawing/2014/main" id="{684E6A1E-ABB3-4B89-BD68-8C651D4E149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096123" y="3236497"/>
              <a:ext cx="1059319" cy="5668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68709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7256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97" r:id="rId2"/>
    <p:sldLayoutId id="2147483662" r:id="rId3"/>
    <p:sldLayoutId id="2147483685" r:id="rId4"/>
    <p:sldLayoutId id="2147483683" r:id="rId5"/>
    <p:sldLayoutId id="2147483682" r:id="rId6"/>
    <p:sldLayoutId id="2147483684" r:id="rId7"/>
    <p:sldLayoutId id="2147483679" r:id="rId8"/>
    <p:sldLayoutId id="2147483699" r:id="rId9"/>
    <p:sldLayoutId id="2147483723" r:id="rId10"/>
    <p:sldLayoutId id="214748372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873923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8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6.png"/><Relationship Id="rId7" Type="http://schemas.openxmlformats.org/officeDocument/2006/relationships/image" Target="../media/image8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svg"/><Relationship Id="rId11" Type="http://schemas.openxmlformats.org/officeDocument/2006/relationships/image" Target="../media/image9.png"/><Relationship Id="rId5" Type="http://schemas.openxmlformats.org/officeDocument/2006/relationships/image" Target="../media/image7.png"/><Relationship Id="rId10" Type="http://schemas.openxmlformats.org/officeDocument/2006/relationships/image" Target="../media/image7.svg"/><Relationship Id="rId4" Type="http://schemas.openxmlformats.org/officeDocument/2006/relationships/image" Target="../media/image15.svg"/><Relationship Id="rId9" Type="http://schemas.openxmlformats.org/officeDocument/2006/relationships/image" Target="../media/image4.png"/><Relationship Id="rId14" Type="http://schemas.openxmlformats.org/officeDocument/2006/relationships/image" Target="../media/image2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1.png"/><Relationship Id="rId7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G"/><Relationship Id="rId5" Type="http://schemas.openxmlformats.org/officeDocument/2006/relationships/image" Target="../media/image15.sv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3.jpg"/><Relationship Id="rId5" Type="http://schemas.openxmlformats.org/officeDocument/2006/relationships/image" Target="../media/image15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13" Type="http://schemas.openxmlformats.org/officeDocument/2006/relationships/image" Target="../media/image16.JPG"/><Relationship Id="rId3" Type="http://schemas.openxmlformats.org/officeDocument/2006/relationships/tags" Target="../tags/tag3.xml"/><Relationship Id="rId7" Type="http://schemas.openxmlformats.org/officeDocument/2006/relationships/image" Target="../media/image6.png"/><Relationship Id="rId12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.png"/><Relationship Id="rId11" Type="http://schemas.openxmlformats.org/officeDocument/2006/relationships/chart" Target="../charts/chart1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5.png"/><Relationship Id="rId4" Type="http://schemas.openxmlformats.org/officeDocument/2006/relationships/tags" Target="../tags/tag4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15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3.xml"/><Relationship Id="rId4" Type="http://schemas.openxmlformats.org/officeDocument/2006/relationships/image" Target="../media/image15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JPG"/><Relationship Id="rId5" Type="http://schemas.openxmlformats.org/officeDocument/2006/relationships/image" Target="../media/image18.JPG"/><Relationship Id="rId4" Type="http://schemas.openxmlformats.org/officeDocument/2006/relationships/image" Target="../media/image1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9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5" name="Freeform: Shape 84">
            <a:extLst>
              <a:ext uri="{FF2B5EF4-FFF2-40B4-BE49-F238E27FC236}">
                <a16:creationId xmlns="" xmlns:a16="http://schemas.microsoft.com/office/drawing/2014/main" id="{95B4CB9D-3FF2-4934-8CA6-4EBA7882E9A3}"/>
              </a:ext>
            </a:extLst>
          </p:cNvPr>
          <p:cNvSpPr/>
          <p:nvPr/>
        </p:nvSpPr>
        <p:spPr>
          <a:xfrm>
            <a:off x="3012790" y="986677"/>
            <a:ext cx="1669509" cy="776296"/>
          </a:xfrm>
          <a:custGeom>
            <a:avLst/>
            <a:gdLst>
              <a:gd name="connsiteX0" fmla="*/ 245221 w 1669509"/>
              <a:gd name="connsiteY0" fmla="*/ 741843 h 776296"/>
              <a:gd name="connsiteX1" fmla="*/ 226910 w 1669509"/>
              <a:gd name="connsiteY1" fmla="*/ 744612 h 776296"/>
              <a:gd name="connsiteX2" fmla="*/ 217597 w 1669509"/>
              <a:gd name="connsiteY2" fmla="*/ 754114 h 776296"/>
              <a:gd name="connsiteX3" fmla="*/ 226986 w 1669509"/>
              <a:gd name="connsiteY3" fmla="*/ 763226 h 776296"/>
              <a:gd name="connsiteX4" fmla="*/ 227791 w 1669509"/>
              <a:gd name="connsiteY4" fmla="*/ 763176 h 776296"/>
              <a:gd name="connsiteX5" fmla="*/ 245296 w 1669509"/>
              <a:gd name="connsiteY5" fmla="*/ 748872 h 776296"/>
              <a:gd name="connsiteX6" fmla="*/ 245221 w 1669509"/>
              <a:gd name="connsiteY6" fmla="*/ 745053 h 776296"/>
              <a:gd name="connsiteX7" fmla="*/ 1046721 w 1669509"/>
              <a:gd name="connsiteY7" fmla="*/ 716988 h 776296"/>
              <a:gd name="connsiteX8" fmla="*/ 1027151 w 1669509"/>
              <a:gd name="connsiteY8" fmla="*/ 739013 h 776296"/>
              <a:gd name="connsiteX9" fmla="*/ 1046721 w 1669509"/>
              <a:gd name="connsiteY9" fmla="*/ 761289 h 776296"/>
              <a:gd name="connsiteX10" fmla="*/ 1066292 w 1669509"/>
              <a:gd name="connsiteY10" fmla="*/ 739013 h 776296"/>
              <a:gd name="connsiteX11" fmla="*/ 1046721 w 1669509"/>
              <a:gd name="connsiteY11" fmla="*/ 716988 h 776296"/>
              <a:gd name="connsiteX12" fmla="*/ 552368 w 1669509"/>
              <a:gd name="connsiteY12" fmla="*/ 716988 h 776296"/>
              <a:gd name="connsiteX13" fmla="*/ 532798 w 1669509"/>
              <a:gd name="connsiteY13" fmla="*/ 739013 h 776296"/>
              <a:gd name="connsiteX14" fmla="*/ 552368 w 1669509"/>
              <a:gd name="connsiteY14" fmla="*/ 761415 h 776296"/>
              <a:gd name="connsiteX15" fmla="*/ 571938 w 1669509"/>
              <a:gd name="connsiteY15" fmla="*/ 739138 h 776296"/>
              <a:gd name="connsiteX16" fmla="*/ 571938 w 1669509"/>
              <a:gd name="connsiteY16" fmla="*/ 739013 h 776296"/>
              <a:gd name="connsiteX17" fmla="*/ 552368 w 1669509"/>
              <a:gd name="connsiteY17" fmla="*/ 716988 h 776296"/>
              <a:gd name="connsiteX18" fmla="*/ 835111 w 1669509"/>
              <a:gd name="connsiteY18" fmla="*/ 715723 h 776296"/>
              <a:gd name="connsiteX19" fmla="*/ 833714 w 1669509"/>
              <a:gd name="connsiteY19" fmla="*/ 715792 h 776296"/>
              <a:gd name="connsiteX20" fmla="*/ 816598 w 1669509"/>
              <a:gd name="connsiteY20" fmla="*/ 731335 h 776296"/>
              <a:gd name="connsiteX21" fmla="*/ 850956 w 1669509"/>
              <a:gd name="connsiteY21" fmla="*/ 731335 h 776296"/>
              <a:gd name="connsiteX22" fmla="*/ 835111 w 1669509"/>
              <a:gd name="connsiteY22" fmla="*/ 715723 h 776296"/>
              <a:gd name="connsiteX23" fmla="*/ 351584 w 1669509"/>
              <a:gd name="connsiteY23" fmla="*/ 715716 h 776296"/>
              <a:gd name="connsiteX24" fmla="*/ 350121 w 1669509"/>
              <a:gd name="connsiteY24" fmla="*/ 715792 h 776296"/>
              <a:gd name="connsiteX25" fmla="*/ 333005 w 1669509"/>
              <a:gd name="connsiteY25" fmla="*/ 731335 h 776296"/>
              <a:gd name="connsiteX26" fmla="*/ 367426 w 1669509"/>
              <a:gd name="connsiteY26" fmla="*/ 731335 h 776296"/>
              <a:gd name="connsiteX27" fmla="*/ 351584 w 1669509"/>
              <a:gd name="connsiteY27" fmla="*/ 715716 h 776296"/>
              <a:gd name="connsiteX28" fmla="*/ 1469609 w 1669509"/>
              <a:gd name="connsiteY28" fmla="*/ 715710 h 776296"/>
              <a:gd name="connsiteX29" fmla="*/ 1468080 w 1669509"/>
              <a:gd name="connsiteY29" fmla="*/ 715792 h 776296"/>
              <a:gd name="connsiteX30" fmla="*/ 1450964 w 1669509"/>
              <a:gd name="connsiteY30" fmla="*/ 731335 h 776296"/>
              <a:gd name="connsiteX31" fmla="*/ 1485322 w 1669509"/>
              <a:gd name="connsiteY31" fmla="*/ 731335 h 776296"/>
              <a:gd name="connsiteX32" fmla="*/ 1469609 w 1669509"/>
              <a:gd name="connsiteY32" fmla="*/ 715710 h 776296"/>
              <a:gd name="connsiteX33" fmla="*/ 635872 w 1669509"/>
              <a:gd name="connsiteY33" fmla="*/ 703144 h 776296"/>
              <a:gd name="connsiteX34" fmla="*/ 640339 w 1669509"/>
              <a:gd name="connsiteY34" fmla="*/ 703585 h 776296"/>
              <a:gd name="connsiteX35" fmla="*/ 640339 w 1669509"/>
              <a:gd name="connsiteY35" fmla="*/ 720575 h 776296"/>
              <a:gd name="connsiteX36" fmla="*/ 634865 w 1669509"/>
              <a:gd name="connsiteY36" fmla="*/ 720134 h 776296"/>
              <a:gd name="connsiteX37" fmla="*/ 615987 w 1669509"/>
              <a:gd name="connsiteY37" fmla="*/ 740712 h 776296"/>
              <a:gd name="connsiteX38" fmla="*/ 615987 w 1669509"/>
              <a:gd name="connsiteY38" fmla="*/ 774000 h 776296"/>
              <a:gd name="connsiteX39" fmla="*/ 599311 w 1669509"/>
              <a:gd name="connsiteY39" fmla="*/ 774000 h 776296"/>
              <a:gd name="connsiteX40" fmla="*/ 599311 w 1669509"/>
              <a:gd name="connsiteY40" fmla="*/ 704025 h 776296"/>
              <a:gd name="connsiteX41" fmla="*/ 615609 w 1669509"/>
              <a:gd name="connsiteY41" fmla="*/ 704025 h 776296"/>
              <a:gd name="connsiteX42" fmla="*/ 615609 w 1669509"/>
              <a:gd name="connsiteY42" fmla="*/ 715226 h 776296"/>
              <a:gd name="connsiteX43" fmla="*/ 635872 w 1669509"/>
              <a:gd name="connsiteY43" fmla="*/ 703144 h 776296"/>
              <a:gd name="connsiteX44" fmla="*/ 431485 w 1669509"/>
              <a:gd name="connsiteY44" fmla="*/ 703144 h 776296"/>
              <a:gd name="connsiteX45" fmla="*/ 435953 w 1669509"/>
              <a:gd name="connsiteY45" fmla="*/ 703584 h 776296"/>
              <a:gd name="connsiteX46" fmla="*/ 435953 w 1669509"/>
              <a:gd name="connsiteY46" fmla="*/ 720575 h 776296"/>
              <a:gd name="connsiteX47" fmla="*/ 430479 w 1669509"/>
              <a:gd name="connsiteY47" fmla="*/ 720134 h 776296"/>
              <a:gd name="connsiteX48" fmla="*/ 411601 w 1669509"/>
              <a:gd name="connsiteY48" fmla="*/ 740711 h 776296"/>
              <a:gd name="connsiteX49" fmla="*/ 411601 w 1669509"/>
              <a:gd name="connsiteY49" fmla="*/ 774000 h 776296"/>
              <a:gd name="connsiteX50" fmla="*/ 394925 w 1669509"/>
              <a:gd name="connsiteY50" fmla="*/ 774000 h 776296"/>
              <a:gd name="connsiteX51" fmla="*/ 394925 w 1669509"/>
              <a:gd name="connsiteY51" fmla="*/ 704025 h 776296"/>
              <a:gd name="connsiteX52" fmla="*/ 411223 w 1669509"/>
              <a:gd name="connsiteY52" fmla="*/ 704025 h 776296"/>
              <a:gd name="connsiteX53" fmla="*/ 411223 w 1669509"/>
              <a:gd name="connsiteY53" fmla="*/ 715226 h 776296"/>
              <a:gd name="connsiteX54" fmla="*/ 431485 w 1669509"/>
              <a:gd name="connsiteY54" fmla="*/ 703144 h 776296"/>
              <a:gd name="connsiteX55" fmla="*/ 1131735 w 1669509"/>
              <a:gd name="connsiteY55" fmla="*/ 703143 h 776296"/>
              <a:gd name="connsiteX56" fmla="*/ 1136140 w 1669509"/>
              <a:gd name="connsiteY56" fmla="*/ 703584 h 776296"/>
              <a:gd name="connsiteX57" fmla="*/ 1135952 w 1669509"/>
              <a:gd name="connsiteY57" fmla="*/ 720574 h 776296"/>
              <a:gd name="connsiteX58" fmla="*/ 1130477 w 1669509"/>
              <a:gd name="connsiteY58" fmla="*/ 720134 h 776296"/>
              <a:gd name="connsiteX59" fmla="*/ 1111599 w 1669509"/>
              <a:gd name="connsiteY59" fmla="*/ 740711 h 776296"/>
              <a:gd name="connsiteX60" fmla="*/ 1111599 w 1669509"/>
              <a:gd name="connsiteY60" fmla="*/ 773999 h 776296"/>
              <a:gd name="connsiteX61" fmla="*/ 1095175 w 1669509"/>
              <a:gd name="connsiteY61" fmla="*/ 773999 h 776296"/>
              <a:gd name="connsiteX62" fmla="*/ 1095175 w 1669509"/>
              <a:gd name="connsiteY62" fmla="*/ 704024 h 776296"/>
              <a:gd name="connsiteX63" fmla="*/ 1111410 w 1669509"/>
              <a:gd name="connsiteY63" fmla="*/ 704024 h 776296"/>
              <a:gd name="connsiteX64" fmla="*/ 1111410 w 1669509"/>
              <a:gd name="connsiteY64" fmla="*/ 715225 h 776296"/>
              <a:gd name="connsiteX65" fmla="*/ 1131735 w 1669509"/>
              <a:gd name="connsiteY65" fmla="*/ 703143 h 776296"/>
              <a:gd name="connsiteX66" fmla="*/ 1468332 w 1669509"/>
              <a:gd name="connsiteY66" fmla="*/ 701885 h 776296"/>
              <a:gd name="connsiteX67" fmla="*/ 1502627 w 1669509"/>
              <a:gd name="connsiteY67" fmla="*/ 738257 h 776296"/>
              <a:gd name="connsiteX68" fmla="*/ 1502186 w 1669509"/>
              <a:gd name="connsiteY68" fmla="*/ 743605 h 776296"/>
              <a:gd name="connsiteX69" fmla="*/ 1450964 w 1669509"/>
              <a:gd name="connsiteY69" fmla="*/ 743605 h 776296"/>
              <a:gd name="connsiteX70" fmla="*/ 1469842 w 1669509"/>
              <a:gd name="connsiteY70" fmla="*/ 761854 h 776296"/>
              <a:gd name="connsiteX71" fmla="*/ 1487398 w 1669509"/>
              <a:gd name="connsiteY71" fmla="*/ 749646 h 776296"/>
              <a:gd name="connsiteX72" fmla="*/ 1501557 w 1669509"/>
              <a:gd name="connsiteY72" fmla="*/ 754114 h 776296"/>
              <a:gd name="connsiteX73" fmla="*/ 1470094 w 1669509"/>
              <a:gd name="connsiteY73" fmla="*/ 776265 h 776296"/>
              <a:gd name="connsiteX74" fmla="*/ 1433955 w 1669509"/>
              <a:gd name="connsiteY74" fmla="*/ 737929 h 776296"/>
              <a:gd name="connsiteX75" fmla="*/ 1468332 w 1669509"/>
              <a:gd name="connsiteY75" fmla="*/ 701885 h 776296"/>
              <a:gd name="connsiteX76" fmla="*/ 833714 w 1669509"/>
              <a:gd name="connsiteY76" fmla="*/ 701885 h 776296"/>
              <a:gd name="connsiteX77" fmla="*/ 868009 w 1669509"/>
              <a:gd name="connsiteY77" fmla="*/ 738257 h 776296"/>
              <a:gd name="connsiteX78" fmla="*/ 867568 w 1669509"/>
              <a:gd name="connsiteY78" fmla="*/ 743605 h 776296"/>
              <a:gd name="connsiteX79" fmla="*/ 816346 w 1669509"/>
              <a:gd name="connsiteY79" fmla="*/ 743605 h 776296"/>
              <a:gd name="connsiteX80" fmla="*/ 835224 w 1669509"/>
              <a:gd name="connsiteY80" fmla="*/ 761854 h 776296"/>
              <a:gd name="connsiteX81" fmla="*/ 852780 w 1669509"/>
              <a:gd name="connsiteY81" fmla="*/ 749646 h 776296"/>
              <a:gd name="connsiteX82" fmla="*/ 866939 w 1669509"/>
              <a:gd name="connsiteY82" fmla="*/ 754114 h 776296"/>
              <a:gd name="connsiteX83" fmla="*/ 835476 w 1669509"/>
              <a:gd name="connsiteY83" fmla="*/ 776265 h 776296"/>
              <a:gd name="connsiteX84" fmla="*/ 799337 w 1669509"/>
              <a:gd name="connsiteY84" fmla="*/ 737929 h 776296"/>
              <a:gd name="connsiteX85" fmla="*/ 833714 w 1669509"/>
              <a:gd name="connsiteY85" fmla="*/ 701885 h 776296"/>
              <a:gd name="connsiteX86" fmla="*/ 350184 w 1669509"/>
              <a:gd name="connsiteY86" fmla="*/ 701885 h 776296"/>
              <a:gd name="connsiteX87" fmla="*/ 384416 w 1669509"/>
              <a:gd name="connsiteY87" fmla="*/ 738257 h 776296"/>
              <a:gd name="connsiteX88" fmla="*/ 383975 w 1669509"/>
              <a:gd name="connsiteY88" fmla="*/ 743605 h 776296"/>
              <a:gd name="connsiteX89" fmla="*/ 332564 w 1669509"/>
              <a:gd name="connsiteY89" fmla="*/ 743605 h 776296"/>
              <a:gd name="connsiteX90" fmla="*/ 351442 w 1669509"/>
              <a:gd name="connsiteY90" fmla="*/ 761854 h 776296"/>
              <a:gd name="connsiteX91" fmla="*/ 368999 w 1669509"/>
              <a:gd name="connsiteY91" fmla="*/ 749646 h 776296"/>
              <a:gd name="connsiteX92" fmla="*/ 383346 w 1669509"/>
              <a:gd name="connsiteY92" fmla="*/ 754114 h 776296"/>
              <a:gd name="connsiteX93" fmla="*/ 351883 w 1669509"/>
              <a:gd name="connsiteY93" fmla="*/ 776265 h 776296"/>
              <a:gd name="connsiteX94" fmla="*/ 315788 w 1669509"/>
              <a:gd name="connsiteY94" fmla="*/ 737892 h 776296"/>
              <a:gd name="connsiteX95" fmla="*/ 350184 w 1669509"/>
              <a:gd name="connsiteY95" fmla="*/ 701885 h 776296"/>
              <a:gd name="connsiteX96" fmla="*/ 1046721 w 1669509"/>
              <a:gd name="connsiteY96" fmla="*/ 701823 h 776296"/>
              <a:gd name="connsiteX97" fmla="*/ 1083181 w 1669509"/>
              <a:gd name="connsiteY97" fmla="*/ 736703 h 776296"/>
              <a:gd name="connsiteX98" fmla="*/ 1083156 w 1669509"/>
              <a:gd name="connsiteY98" fmla="*/ 739013 h 776296"/>
              <a:gd name="connsiteX99" fmla="*/ 1045973 w 1669509"/>
              <a:gd name="connsiteY99" fmla="*/ 774560 h 776296"/>
              <a:gd name="connsiteX100" fmla="*/ 1010431 w 1669509"/>
              <a:gd name="connsiteY100" fmla="*/ 737377 h 776296"/>
              <a:gd name="connsiteX101" fmla="*/ 1046721 w 1669509"/>
              <a:gd name="connsiteY101" fmla="*/ 701823 h 776296"/>
              <a:gd name="connsiteX102" fmla="*/ 552368 w 1669509"/>
              <a:gd name="connsiteY102" fmla="*/ 701823 h 776296"/>
              <a:gd name="connsiteX103" fmla="*/ 588827 w 1669509"/>
              <a:gd name="connsiteY103" fmla="*/ 736703 h 776296"/>
              <a:gd name="connsiteX104" fmla="*/ 588803 w 1669509"/>
              <a:gd name="connsiteY104" fmla="*/ 739013 h 776296"/>
              <a:gd name="connsiteX105" fmla="*/ 551622 w 1669509"/>
              <a:gd name="connsiteY105" fmla="*/ 774560 h 776296"/>
              <a:gd name="connsiteX106" fmla="*/ 516077 w 1669509"/>
              <a:gd name="connsiteY106" fmla="*/ 737377 h 776296"/>
              <a:gd name="connsiteX107" fmla="*/ 552368 w 1669509"/>
              <a:gd name="connsiteY107" fmla="*/ 701823 h 776296"/>
              <a:gd name="connsiteX108" fmla="*/ 1533649 w 1669509"/>
              <a:gd name="connsiteY108" fmla="*/ 701822 h 776296"/>
              <a:gd name="connsiteX109" fmla="*/ 1560707 w 1669509"/>
              <a:gd name="connsiteY109" fmla="*/ 721455 h 776296"/>
              <a:gd name="connsiteX110" fmla="*/ 1546612 w 1669509"/>
              <a:gd name="connsiteY110" fmla="*/ 725482 h 776296"/>
              <a:gd name="connsiteX111" fmla="*/ 1533649 w 1669509"/>
              <a:gd name="connsiteY111" fmla="*/ 714974 h 776296"/>
              <a:gd name="connsiteX112" fmla="*/ 1523593 w 1669509"/>
              <a:gd name="connsiteY112" fmla="*/ 722915 h 776296"/>
              <a:gd name="connsiteX113" fmla="*/ 1523581 w 1669509"/>
              <a:gd name="connsiteY113" fmla="*/ 723028 h 776296"/>
              <a:gd name="connsiteX114" fmla="*/ 1530628 w 1669509"/>
              <a:gd name="connsiteY114" fmla="*/ 730328 h 776296"/>
              <a:gd name="connsiteX115" fmla="*/ 1541263 w 1669509"/>
              <a:gd name="connsiteY115" fmla="*/ 732530 h 776296"/>
              <a:gd name="connsiteX116" fmla="*/ 1561400 w 1669509"/>
              <a:gd name="connsiteY116" fmla="*/ 753800 h 776296"/>
              <a:gd name="connsiteX117" fmla="*/ 1534970 w 1669509"/>
              <a:gd name="connsiteY117" fmla="*/ 776264 h 776296"/>
              <a:gd name="connsiteX118" fmla="*/ 1506024 w 1669509"/>
              <a:gd name="connsiteY118" fmla="*/ 755121 h 776296"/>
              <a:gd name="connsiteX119" fmla="*/ 1520623 w 1669509"/>
              <a:gd name="connsiteY119" fmla="*/ 751094 h 776296"/>
              <a:gd name="connsiteX120" fmla="*/ 1534807 w 1669509"/>
              <a:gd name="connsiteY120" fmla="*/ 762993 h 776296"/>
              <a:gd name="connsiteX121" fmla="*/ 1534845 w 1669509"/>
              <a:gd name="connsiteY121" fmla="*/ 762987 h 776296"/>
              <a:gd name="connsiteX122" fmla="*/ 1545353 w 1669509"/>
              <a:gd name="connsiteY122" fmla="*/ 754932 h 776296"/>
              <a:gd name="connsiteX123" fmla="*/ 1537173 w 1669509"/>
              <a:gd name="connsiteY123" fmla="*/ 747192 h 776296"/>
              <a:gd name="connsiteX124" fmla="*/ 1526790 w 1669509"/>
              <a:gd name="connsiteY124" fmla="*/ 744864 h 776296"/>
              <a:gd name="connsiteX125" fmla="*/ 1507912 w 1669509"/>
              <a:gd name="connsiteY125" fmla="*/ 724476 h 776296"/>
              <a:gd name="connsiteX126" fmla="*/ 1533649 w 1669509"/>
              <a:gd name="connsiteY126" fmla="*/ 701822 h 776296"/>
              <a:gd name="connsiteX127" fmla="*/ 231818 w 1669509"/>
              <a:gd name="connsiteY127" fmla="*/ 701759 h 776296"/>
              <a:gd name="connsiteX128" fmla="*/ 261582 w 1669509"/>
              <a:gd name="connsiteY128" fmla="*/ 728000 h 776296"/>
              <a:gd name="connsiteX129" fmla="*/ 261582 w 1669509"/>
              <a:gd name="connsiteY129" fmla="*/ 762798 h 776296"/>
              <a:gd name="connsiteX130" fmla="*/ 262463 w 1669509"/>
              <a:gd name="connsiteY130" fmla="*/ 774062 h 776296"/>
              <a:gd name="connsiteX131" fmla="*/ 246920 w 1669509"/>
              <a:gd name="connsiteY131" fmla="*/ 774062 h 776296"/>
              <a:gd name="connsiteX132" fmla="*/ 246228 w 1669509"/>
              <a:gd name="connsiteY132" fmla="*/ 765126 h 776296"/>
              <a:gd name="connsiteX133" fmla="*/ 224644 w 1669509"/>
              <a:gd name="connsiteY133" fmla="*/ 776201 h 776296"/>
              <a:gd name="connsiteX134" fmla="*/ 200920 w 1669509"/>
              <a:gd name="connsiteY134" fmla="*/ 756159 h 776296"/>
              <a:gd name="connsiteX135" fmla="*/ 200858 w 1669509"/>
              <a:gd name="connsiteY135" fmla="*/ 755121 h 776296"/>
              <a:gd name="connsiteX136" fmla="*/ 222001 w 1669509"/>
              <a:gd name="connsiteY136" fmla="*/ 733978 h 776296"/>
              <a:gd name="connsiteX137" fmla="*/ 239999 w 1669509"/>
              <a:gd name="connsiteY137" fmla="*/ 731209 h 776296"/>
              <a:gd name="connsiteX138" fmla="*/ 245221 w 1669509"/>
              <a:gd name="connsiteY138" fmla="*/ 726175 h 776296"/>
              <a:gd name="connsiteX139" fmla="*/ 231944 w 1669509"/>
              <a:gd name="connsiteY139" fmla="*/ 715540 h 776296"/>
              <a:gd name="connsiteX140" fmla="*/ 217600 w 1669509"/>
              <a:gd name="connsiteY140" fmla="*/ 728069 h 776296"/>
              <a:gd name="connsiteX141" fmla="*/ 217597 w 1669509"/>
              <a:gd name="connsiteY141" fmla="*/ 728125 h 776296"/>
              <a:gd name="connsiteX142" fmla="*/ 202305 w 1669509"/>
              <a:gd name="connsiteY142" fmla="*/ 724664 h 776296"/>
              <a:gd name="connsiteX143" fmla="*/ 231818 w 1669509"/>
              <a:gd name="connsiteY143" fmla="*/ 701759 h 776296"/>
              <a:gd name="connsiteX144" fmla="*/ 1580152 w 1669509"/>
              <a:gd name="connsiteY144" fmla="*/ 682567 h 776296"/>
              <a:gd name="connsiteX145" fmla="*/ 1595255 w 1669509"/>
              <a:gd name="connsiteY145" fmla="*/ 682567 h 776296"/>
              <a:gd name="connsiteX146" fmla="*/ 1595255 w 1669509"/>
              <a:gd name="connsiteY146" fmla="*/ 704025 h 776296"/>
              <a:gd name="connsiteX147" fmla="*/ 1609791 w 1669509"/>
              <a:gd name="connsiteY147" fmla="*/ 704025 h 776296"/>
              <a:gd name="connsiteX148" fmla="*/ 1609791 w 1669509"/>
              <a:gd name="connsiteY148" fmla="*/ 718876 h 776296"/>
              <a:gd name="connsiteX149" fmla="*/ 1595255 w 1669509"/>
              <a:gd name="connsiteY149" fmla="*/ 718876 h 776296"/>
              <a:gd name="connsiteX150" fmla="*/ 1595255 w 1669509"/>
              <a:gd name="connsiteY150" fmla="*/ 751346 h 776296"/>
              <a:gd name="connsiteX151" fmla="*/ 1604127 w 1669509"/>
              <a:gd name="connsiteY151" fmla="*/ 760156 h 776296"/>
              <a:gd name="connsiteX152" fmla="*/ 1609917 w 1669509"/>
              <a:gd name="connsiteY152" fmla="*/ 759589 h 776296"/>
              <a:gd name="connsiteX153" fmla="*/ 1609917 w 1669509"/>
              <a:gd name="connsiteY153" fmla="*/ 773370 h 776296"/>
              <a:gd name="connsiteX154" fmla="*/ 1599722 w 1669509"/>
              <a:gd name="connsiteY154" fmla="*/ 774944 h 776296"/>
              <a:gd name="connsiteX155" fmla="*/ 1578717 w 1669509"/>
              <a:gd name="connsiteY155" fmla="*/ 757469 h 776296"/>
              <a:gd name="connsiteX156" fmla="*/ 1578705 w 1669509"/>
              <a:gd name="connsiteY156" fmla="*/ 754115 h 776296"/>
              <a:gd name="connsiteX157" fmla="*/ 1578705 w 1669509"/>
              <a:gd name="connsiteY157" fmla="*/ 718876 h 776296"/>
              <a:gd name="connsiteX158" fmla="*/ 1565742 w 1669509"/>
              <a:gd name="connsiteY158" fmla="*/ 718876 h 776296"/>
              <a:gd name="connsiteX159" fmla="*/ 1565742 w 1669509"/>
              <a:gd name="connsiteY159" fmla="*/ 704025 h 776296"/>
              <a:gd name="connsiteX160" fmla="*/ 1569329 w 1669509"/>
              <a:gd name="connsiteY160" fmla="*/ 704025 h 776296"/>
              <a:gd name="connsiteX161" fmla="*/ 1580165 w 1669509"/>
              <a:gd name="connsiteY161" fmla="*/ 694926 h 776296"/>
              <a:gd name="connsiteX162" fmla="*/ 1580152 w 1669509"/>
              <a:gd name="connsiteY162" fmla="*/ 693076 h 776296"/>
              <a:gd name="connsiteX163" fmla="*/ 1156277 w 1669509"/>
              <a:gd name="connsiteY163" fmla="*/ 682567 h 776296"/>
              <a:gd name="connsiteX164" fmla="*/ 1171379 w 1669509"/>
              <a:gd name="connsiteY164" fmla="*/ 682567 h 776296"/>
              <a:gd name="connsiteX165" fmla="*/ 1171505 w 1669509"/>
              <a:gd name="connsiteY165" fmla="*/ 704025 h 776296"/>
              <a:gd name="connsiteX166" fmla="*/ 1186104 w 1669509"/>
              <a:gd name="connsiteY166" fmla="*/ 704025 h 776296"/>
              <a:gd name="connsiteX167" fmla="*/ 1186104 w 1669509"/>
              <a:gd name="connsiteY167" fmla="*/ 718876 h 776296"/>
              <a:gd name="connsiteX168" fmla="*/ 1171505 w 1669509"/>
              <a:gd name="connsiteY168" fmla="*/ 718876 h 776296"/>
              <a:gd name="connsiteX169" fmla="*/ 1171505 w 1669509"/>
              <a:gd name="connsiteY169" fmla="*/ 751346 h 776296"/>
              <a:gd name="connsiteX170" fmla="*/ 1180440 w 1669509"/>
              <a:gd name="connsiteY170" fmla="*/ 760156 h 776296"/>
              <a:gd name="connsiteX171" fmla="*/ 1186230 w 1669509"/>
              <a:gd name="connsiteY171" fmla="*/ 759589 h 776296"/>
              <a:gd name="connsiteX172" fmla="*/ 1186230 w 1669509"/>
              <a:gd name="connsiteY172" fmla="*/ 773370 h 776296"/>
              <a:gd name="connsiteX173" fmla="*/ 1175973 w 1669509"/>
              <a:gd name="connsiteY173" fmla="*/ 774944 h 776296"/>
              <a:gd name="connsiteX174" fmla="*/ 1155030 w 1669509"/>
              <a:gd name="connsiteY174" fmla="*/ 757538 h 776296"/>
              <a:gd name="connsiteX175" fmla="*/ 1155018 w 1669509"/>
              <a:gd name="connsiteY175" fmla="*/ 754115 h 776296"/>
              <a:gd name="connsiteX176" fmla="*/ 1155018 w 1669509"/>
              <a:gd name="connsiteY176" fmla="*/ 718876 h 776296"/>
              <a:gd name="connsiteX177" fmla="*/ 1142055 w 1669509"/>
              <a:gd name="connsiteY177" fmla="*/ 718876 h 776296"/>
              <a:gd name="connsiteX178" fmla="*/ 1142055 w 1669509"/>
              <a:gd name="connsiteY178" fmla="*/ 704025 h 776296"/>
              <a:gd name="connsiteX179" fmla="*/ 1145516 w 1669509"/>
              <a:gd name="connsiteY179" fmla="*/ 704025 h 776296"/>
              <a:gd name="connsiteX180" fmla="*/ 1156295 w 1669509"/>
              <a:gd name="connsiteY180" fmla="*/ 694995 h 776296"/>
              <a:gd name="connsiteX181" fmla="*/ 1156277 w 1669509"/>
              <a:gd name="connsiteY181" fmla="*/ 693076 h 776296"/>
              <a:gd name="connsiteX182" fmla="*/ 687157 w 1669509"/>
              <a:gd name="connsiteY182" fmla="*/ 682567 h 776296"/>
              <a:gd name="connsiteX183" fmla="*/ 702260 w 1669509"/>
              <a:gd name="connsiteY183" fmla="*/ 682567 h 776296"/>
              <a:gd name="connsiteX184" fmla="*/ 702260 w 1669509"/>
              <a:gd name="connsiteY184" fmla="*/ 704025 h 776296"/>
              <a:gd name="connsiteX185" fmla="*/ 716796 w 1669509"/>
              <a:gd name="connsiteY185" fmla="*/ 704025 h 776296"/>
              <a:gd name="connsiteX186" fmla="*/ 716796 w 1669509"/>
              <a:gd name="connsiteY186" fmla="*/ 718876 h 776296"/>
              <a:gd name="connsiteX187" fmla="*/ 702260 w 1669509"/>
              <a:gd name="connsiteY187" fmla="*/ 718876 h 776296"/>
              <a:gd name="connsiteX188" fmla="*/ 702260 w 1669509"/>
              <a:gd name="connsiteY188" fmla="*/ 751346 h 776296"/>
              <a:gd name="connsiteX189" fmla="*/ 711195 w 1669509"/>
              <a:gd name="connsiteY189" fmla="*/ 760156 h 776296"/>
              <a:gd name="connsiteX190" fmla="*/ 716922 w 1669509"/>
              <a:gd name="connsiteY190" fmla="*/ 759589 h 776296"/>
              <a:gd name="connsiteX191" fmla="*/ 716922 w 1669509"/>
              <a:gd name="connsiteY191" fmla="*/ 773370 h 776296"/>
              <a:gd name="connsiteX192" fmla="*/ 706727 w 1669509"/>
              <a:gd name="connsiteY192" fmla="*/ 774944 h 776296"/>
              <a:gd name="connsiteX193" fmla="*/ 685722 w 1669509"/>
              <a:gd name="connsiteY193" fmla="*/ 757469 h 776296"/>
              <a:gd name="connsiteX194" fmla="*/ 685710 w 1669509"/>
              <a:gd name="connsiteY194" fmla="*/ 754115 h 776296"/>
              <a:gd name="connsiteX195" fmla="*/ 685710 w 1669509"/>
              <a:gd name="connsiteY195" fmla="*/ 718876 h 776296"/>
              <a:gd name="connsiteX196" fmla="*/ 672747 w 1669509"/>
              <a:gd name="connsiteY196" fmla="*/ 718876 h 776296"/>
              <a:gd name="connsiteX197" fmla="*/ 672747 w 1669509"/>
              <a:gd name="connsiteY197" fmla="*/ 704025 h 776296"/>
              <a:gd name="connsiteX198" fmla="*/ 676334 w 1669509"/>
              <a:gd name="connsiteY198" fmla="*/ 704025 h 776296"/>
              <a:gd name="connsiteX199" fmla="*/ 687170 w 1669509"/>
              <a:gd name="connsiteY199" fmla="*/ 694926 h 776296"/>
              <a:gd name="connsiteX200" fmla="*/ 687157 w 1669509"/>
              <a:gd name="connsiteY200" fmla="*/ 693076 h 776296"/>
              <a:gd name="connsiteX201" fmla="*/ 282034 w 1669509"/>
              <a:gd name="connsiteY201" fmla="*/ 682567 h 776296"/>
              <a:gd name="connsiteX202" fmla="*/ 297200 w 1669509"/>
              <a:gd name="connsiteY202" fmla="*/ 682567 h 776296"/>
              <a:gd name="connsiteX203" fmla="*/ 297200 w 1669509"/>
              <a:gd name="connsiteY203" fmla="*/ 704025 h 776296"/>
              <a:gd name="connsiteX204" fmla="*/ 311736 w 1669509"/>
              <a:gd name="connsiteY204" fmla="*/ 704025 h 776296"/>
              <a:gd name="connsiteX205" fmla="*/ 311736 w 1669509"/>
              <a:gd name="connsiteY205" fmla="*/ 718876 h 776296"/>
              <a:gd name="connsiteX206" fmla="*/ 297200 w 1669509"/>
              <a:gd name="connsiteY206" fmla="*/ 718876 h 776296"/>
              <a:gd name="connsiteX207" fmla="*/ 297200 w 1669509"/>
              <a:gd name="connsiteY207" fmla="*/ 751346 h 776296"/>
              <a:gd name="connsiteX208" fmla="*/ 306072 w 1669509"/>
              <a:gd name="connsiteY208" fmla="*/ 760156 h 776296"/>
              <a:gd name="connsiteX209" fmla="*/ 311862 w 1669509"/>
              <a:gd name="connsiteY209" fmla="*/ 759589 h 776296"/>
              <a:gd name="connsiteX210" fmla="*/ 311862 w 1669509"/>
              <a:gd name="connsiteY210" fmla="*/ 773370 h 776296"/>
              <a:gd name="connsiteX211" fmla="*/ 301668 w 1669509"/>
              <a:gd name="connsiteY211" fmla="*/ 774944 h 776296"/>
              <a:gd name="connsiteX212" fmla="*/ 280665 w 1669509"/>
              <a:gd name="connsiteY212" fmla="*/ 757469 h 776296"/>
              <a:gd name="connsiteX213" fmla="*/ 280650 w 1669509"/>
              <a:gd name="connsiteY213" fmla="*/ 754115 h 776296"/>
              <a:gd name="connsiteX214" fmla="*/ 280650 w 1669509"/>
              <a:gd name="connsiteY214" fmla="*/ 718876 h 776296"/>
              <a:gd name="connsiteX215" fmla="*/ 267687 w 1669509"/>
              <a:gd name="connsiteY215" fmla="*/ 718876 h 776296"/>
              <a:gd name="connsiteX216" fmla="*/ 267687 w 1669509"/>
              <a:gd name="connsiteY216" fmla="*/ 704025 h 776296"/>
              <a:gd name="connsiteX217" fmla="*/ 271274 w 1669509"/>
              <a:gd name="connsiteY217" fmla="*/ 704025 h 776296"/>
              <a:gd name="connsiteX218" fmla="*/ 282051 w 1669509"/>
              <a:gd name="connsiteY218" fmla="*/ 694995 h 776296"/>
              <a:gd name="connsiteX219" fmla="*/ 282034 w 1669509"/>
              <a:gd name="connsiteY219" fmla="*/ 693076 h 776296"/>
              <a:gd name="connsiteX220" fmla="*/ 1295031 w 1669509"/>
              <a:gd name="connsiteY220" fmla="*/ 672058 h 776296"/>
              <a:gd name="connsiteX221" fmla="*/ 1313154 w 1669509"/>
              <a:gd name="connsiteY221" fmla="*/ 672058 h 776296"/>
              <a:gd name="connsiteX222" fmla="*/ 1333605 w 1669509"/>
              <a:gd name="connsiteY222" fmla="*/ 746626 h 776296"/>
              <a:gd name="connsiteX223" fmla="*/ 1357517 w 1669509"/>
              <a:gd name="connsiteY223" fmla="*/ 672058 h 776296"/>
              <a:gd name="connsiteX224" fmla="*/ 1375515 w 1669509"/>
              <a:gd name="connsiteY224" fmla="*/ 672058 h 776296"/>
              <a:gd name="connsiteX225" fmla="*/ 1399804 w 1669509"/>
              <a:gd name="connsiteY225" fmla="*/ 747193 h 776296"/>
              <a:gd name="connsiteX226" fmla="*/ 1419815 w 1669509"/>
              <a:gd name="connsiteY226" fmla="*/ 672058 h 776296"/>
              <a:gd name="connsiteX227" fmla="*/ 1437686 w 1669509"/>
              <a:gd name="connsiteY227" fmla="*/ 672058 h 776296"/>
              <a:gd name="connsiteX228" fmla="*/ 1408992 w 1669509"/>
              <a:gd name="connsiteY228" fmla="*/ 774125 h 776296"/>
              <a:gd name="connsiteX229" fmla="*/ 1391183 w 1669509"/>
              <a:gd name="connsiteY229" fmla="*/ 774125 h 776296"/>
              <a:gd name="connsiteX230" fmla="*/ 1366390 w 1669509"/>
              <a:gd name="connsiteY230" fmla="*/ 696977 h 776296"/>
              <a:gd name="connsiteX231" fmla="*/ 1341660 w 1669509"/>
              <a:gd name="connsiteY231" fmla="*/ 774125 h 776296"/>
              <a:gd name="connsiteX232" fmla="*/ 1323977 w 1669509"/>
              <a:gd name="connsiteY232" fmla="*/ 774125 h 776296"/>
              <a:gd name="connsiteX233" fmla="*/ 912310 w 1669509"/>
              <a:gd name="connsiteY233" fmla="*/ 672058 h 776296"/>
              <a:gd name="connsiteX234" fmla="*/ 934334 w 1669509"/>
              <a:gd name="connsiteY234" fmla="*/ 672058 h 776296"/>
              <a:gd name="connsiteX235" fmla="*/ 980649 w 1669509"/>
              <a:gd name="connsiteY235" fmla="*/ 744487 h 776296"/>
              <a:gd name="connsiteX236" fmla="*/ 980649 w 1669509"/>
              <a:gd name="connsiteY236" fmla="*/ 672058 h 776296"/>
              <a:gd name="connsiteX237" fmla="*/ 997890 w 1669509"/>
              <a:gd name="connsiteY237" fmla="*/ 672058 h 776296"/>
              <a:gd name="connsiteX238" fmla="*/ 997890 w 1669509"/>
              <a:gd name="connsiteY238" fmla="*/ 774125 h 776296"/>
              <a:gd name="connsiteX239" fmla="*/ 979956 w 1669509"/>
              <a:gd name="connsiteY239" fmla="*/ 774125 h 776296"/>
              <a:gd name="connsiteX240" fmla="*/ 929552 w 1669509"/>
              <a:gd name="connsiteY240" fmla="*/ 696788 h 776296"/>
              <a:gd name="connsiteX241" fmla="*/ 929552 w 1669509"/>
              <a:gd name="connsiteY241" fmla="*/ 774125 h 776296"/>
              <a:gd name="connsiteX242" fmla="*/ 912310 w 1669509"/>
              <a:gd name="connsiteY242" fmla="*/ 774125 h 776296"/>
              <a:gd name="connsiteX243" fmla="*/ 59839 w 1669509"/>
              <a:gd name="connsiteY243" fmla="*/ 672058 h 776296"/>
              <a:gd name="connsiteX244" fmla="*/ 77962 w 1669509"/>
              <a:gd name="connsiteY244" fmla="*/ 672058 h 776296"/>
              <a:gd name="connsiteX245" fmla="*/ 98413 w 1669509"/>
              <a:gd name="connsiteY245" fmla="*/ 746626 h 776296"/>
              <a:gd name="connsiteX246" fmla="*/ 122325 w 1669509"/>
              <a:gd name="connsiteY246" fmla="*/ 672058 h 776296"/>
              <a:gd name="connsiteX247" fmla="*/ 140322 w 1669509"/>
              <a:gd name="connsiteY247" fmla="*/ 672058 h 776296"/>
              <a:gd name="connsiteX248" fmla="*/ 164612 w 1669509"/>
              <a:gd name="connsiteY248" fmla="*/ 747193 h 776296"/>
              <a:gd name="connsiteX249" fmla="*/ 184623 w 1669509"/>
              <a:gd name="connsiteY249" fmla="*/ 672058 h 776296"/>
              <a:gd name="connsiteX250" fmla="*/ 202431 w 1669509"/>
              <a:gd name="connsiteY250" fmla="*/ 672058 h 776296"/>
              <a:gd name="connsiteX251" fmla="*/ 173862 w 1669509"/>
              <a:gd name="connsiteY251" fmla="*/ 774125 h 776296"/>
              <a:gd name="connsiteX252" fmla="*/ 155991 w 1669509"/>
              <a:gd name="connsiteY252" fmla="*/ 774125 h 776296"/>
              <a:gd name="connsiteX253" fmla="*/ 131261 w 1669509"/>
              <a:gd name="connsiteY253" fmla="*/ 696977 h 776296"/>
              <a:gd name="connsiteX254" fmla="*/ 106468 w 1669509"/>
              <a:gd name="connsiteY254" fmla="*/ 774125 h 776296"/>
              <a:gd name="connsiteX255" fmla="*/ 88785 w 1669509"/>
              <a:gd name="connsiteY255" fmla="*/ 774125 h 776296"/>
              <a:gd name="connsiteX256" fmla="*/ 1197179 w 1669509"/>
              <a:gd name="connsiteY256" fmla="*/ 669919 h 776296"/>
              <a:gd name="connsiteX257" fmla="*/ 1213855 w 1669509"/>
              <a:gd name="connsiteY257" fmla="*/ 669919 h 776296"/>
              <a:gd name="connsiteX258" fmla="*/ 1213855 w 1669509"/>
              <a:gd name="connsiteY258" fmla="*/ 711073 h 776296"/>
              <a:gd name="connsiteX259" fmla="*/ 1233865 w 1669509"/>
              <a:gd name="connsiteY259" fmla="*/ 702326 h 776296"/>
              <a:gd name="connsiteX260" fmla="*/ 1259477 w 1669509"/>
              <a:gd name="connsiteY260" fmla="*/ 730077 h 776296"/>
              <a:gd name="connsiteX261" fmla="*/ 1259477 w 1669509"/>
              <a:gd name="connsiteY261" fmla="*/ 774126 h 776296"/>
              <a:gd name="connsiteX262" fmla="*/ 1242801 w 1669509"/>
              <a:gd name="connsiteY262" fmla="*/ 774126 h 776296"/>
              <a:gd name="connsiteX263" fmla="*/ 1242801 w 1669509"/>
              <a:gd name="connsiteY263" fmla="*/ 732657 h 776296"/>
              <a:gd name="connsiteX264" fmla="*/ 1228391 w 1669509"/>
              <a:gd name="connsiteY264" fmla="*/ 717114 h 776296"/>
              <a:gd name="connsiteX265" fmla="*/ 1213798 w 1669509"/>
              <a:gd name="connsiteY265" fmla="*/ 731719 h 776296"/>
              <a:gd name="connsiteX266" fmla="*/ 1213855 w 1669509"/>
              <a:gd name="connsiteY266" fmla="*/ 732972 h 776296"/>
              <a:gd name="connsiteX267" fmla="*/ 1213855 w 1669509"/>
              <a:gd name="connsiteY267" fmla="*/ 774000 h 776296"/>
              <a:gd name="connsiteX268" fmla="*/ 1197179 w 1669509"/>
              <a:gd name="connsiteY268" fmla="*/ 774000 h 776296"/>
              <a:gd name="connsiteX269" fmla="*/ 727430 w 1669509"/>
              <a:gd name="connsiteY269" fmla="*/ 669919 h 776296"/>
              <a:gd name="connsiteX270" fmla="*/ 744106 w 1669509"/>
              <a:gd name="connsiteY270" fmla="*/ 669919 h 776296"/>
              <a:gd name="connsiteX271" fmla="*/ 744106 w 1669509"/>
              <a:gd name="connsiteY271" fmla="*/ 711073 h 776296"/>
              <a:gd name="connsiteX272" fmla="*/ 764116 w 1669509"/>
              <a:gd name="connsiteY272" fmla="*/ 702326 h 776296"/>
              <a:gd name="connsiteX273" fmla="*/ 789728 w 1669509"/>
              <a:gd name="connsiteY273" fmla="*/ 730077 h 776296"/>
              <a:gd name="connsiteX274" fmla="*/ 789728 w 1669509"/>
              <a:gd name="connsiteY274" fmla="*/ 774126 h 776296"/>
              <a:gd name="connsiteX275" fmla="*/ 773052 w 1669509"/>
              <a:gd name="connsiteY275" fmla="*/ 774126 h 776296"/>
              <a:gd name="connsiteX276" fmla="*/ 773052 w 1669509"/>
              <a:gd name="connsiteY276" fmla="*/ 732657 h 776296"/>
              <a:gd name="connsiteX277" fmla="*/ 758642 w 1669509"/>
              <a:gd name="connsiteY277" fmla="*/ 717114 h 776296"/>
              <a:gd name="connsiteX278" fmla="*/ 744049 w 1669509"/>
              <a:gd name="connsiteY278" fmla="*/ 731719 h 776296"/>
              <a:gd name="connsiteX279" fmla="*/ 744106 w 1669509"/>
              <a:gd name="connsiteY279" fmla="*/ 732972 h 776296"/>
              <a:gd name="connsiteX280" fmla="*/ 744106 w 1669509"/>
              <a:gd name="connsiteY280" fmla="*/ 774000 h 776296"/>
              <a:gd name="connsiteX281" fmla="*/ 727430 w 1669509"/>
              <a:gd name="connsiteY281" fmla="*/ 774000 h 776296"/>
              <a:gd name="connsiteX282" fmla="*/ 505046 w 1669509"/>
              <a:gd name="connsiteY282" fmla="*/ 669101 h 776296"/>
              <a:gd name="connsiteX283" fmla="*/ 513856 w 1669509"/>
              <a:gd name="connsiteY283" fmla="*/ 670548 h 776296"/>
              <a:gd name="connsiteX284" fmla="*/ 513856 w 1669509"/>
              <a:gd name="connsiteY284" fmla="*/ 684833 h 776296"/>
              <a:gd name="connsiteX285" fmla="*/ 507563 w 1669509"/>
              <a:gd name="connsiteY285" fmla="*/ 684077 h 776296"/>
              <a:gd name="connsiteX286" fmla="*/ 497325 w 1669509"/>
              <a:gd name="connsiteY286" fmla="*/ 692919 h 776296"/>
              <a:gd name="connsiteX287" fmla="*/ 497369 w 1669509"/>
              <a:gd name="connsiteY287" fmla="*/ 694775 h 776296"/>
              <a:gd name="connsiteX288" fmla="*/ 497369 w 1669509"/>
              <a:gd name="connsiteY288" fmla="*/ 704025 h 776296"/>
              <a:gd name="connsiteX289" fmla="*/ 513604 w 1669509"/>
              <a:gd name="connsiteY289" fmla="*/ 704025 h 776296"/>
              <a:gd name="connsiteX290" fmla="*/ 513604 w 1669509"/>
              <a:gd name="connsiteY290" fmla="*/ 718561 h 776296"/>
              <a:gd name="connsiteX291" fmla="*/ 497369 w 1669509"/>
              <a:gd name="connsiteY291" fmla="*/ 718561 h 776296"/>
              <a:gd name="connsiteX292" fmla="*/ 497369 w 1669509"/>
              <a:gd name="connsiteY292" fmla="*/ 774000 h 776296"/>
              <a:gd name="connsiteX293" fmla="*/ 480568 w 1669509"/>
              <a:gd name="connsiteY293" fmla="*/ 774000 h 776296"/>
              <a:gd name="connsiteX294" fmla="*/ 480568 w 1669509"/>
              <a:gd name="connsiteY294" fmla="*/ 718435 h 776296"/>
              <a:gd name="connsiteX295" fmla="*/ 468360 w 1669509"/>
              <a:gd name="connsiteY295" fmla="*/ 718435 h 776296"/>
              <a:gd name="connsiteX296" fmla="*/ 468360 w 1669509"/>
              <a:gd name="connsiteY296" fmla="*/ 703899 h 776296"/>
              <a:gd name="connsiteX297" fmla="*/ 480568 w 1669509"/>
              <a:gd name="connsiteY297" fmla="*/ 703899 h 776296"/>
              <a:gd name="connsiteX298" fmla="*/ 480568 w 1669509"/>
              <a:gd name="connsiteY298" fmla="*/ 694272 h 776296"/>
              <a:gd name="connsiteX299" fmla="*/ 501984 w 1669509"/>
              <a:gd name="connsiteY299" fmla="*/ 669145 h 776296"/>
              <a:gd name="connsiteX300" fmla="*/ 505046 w 1669509"/>
              <a:gd name="connsiteY300" fmla="*/ 669101 h 776296"/>
              <a:gd name="connsiteX301" fmla="*/ 1286410 w 1669509"/>
              <a:gd name="connsiteY301" fmla="*/ 499450 h 776296"/>
              <a:gd name="connsiteX302" fmla="*/ 1286725 w 1669509"/>
              <a:gd name="connsiteY302" fmla="*/ 499450 h 776296"/>
              <a:gd name="connsiteX303" fmla="*/ 1286444 w 1669509"/>
              <a:gd name="connsiteY303" fmla="*/ 499525 h 776296"/>
              <a:gd name="connsiteX304" fmla="*/ 965672 w 1669509"/>
              <a:gd name="connsiteY304" fmla="*/ 499450 h 776296"/>
              <a:gd name="connsiteX305" fmla="*/ 965735 w 1669509"/>
              <a:gd name="connsiteY305" fmla="*/ 499450 h 776296"/>
              <a:gd name="connsiteX306" fmla="*/ 965679 w 1669509"/>
              <a:gd name="connsiteY306" fmla="*/ 499465 h 776296"/>
              <a:gd name="connsiteX307" fmla="*/ 1502752 w 1669509"/>
              <a:gd name="connsiteY307" fmla="*/ 407262 h 776296"/>
              <a:gd name="connsiteX308" fmla="*/ 1502815 w 1669509"/>
              <a:gd name="connsiteY308" fmla="*/ 407388 h 776296"/>
              <a:gd name="connsiteX309" fmla="*/ 1502750 w 1669509"/>
              <a:gd name="connsiteY309" fmla="*/ 407267 h 776296"/>
              <a:gd name="connsiteX310" fmla="*/ 1459836 w 1669509"/>
              <a:gd name="connsiteY310" fmla="*/ 399711 h 776296"/>
              <a:gd name="connsiteX311" fmla="*/ 1420192 w 1669509"/>
              <a:gd name="connsiteY311" fmla="*/ 448290 h 776296"/>
              <a:gd name="connsiteX312" fmla="*/ 1472358 w 1669509"/>
              <a:gd name="connsiteY312" fmla="*/ 412359 h 776296"/>
              <a:gd name="connsiteX313" fmla="*/ 1472358 w 1669509"/>
              <a:gd name="connsiteY313" fmla="*/ 410110 h 776296"/>
              <a:gd name="connsiteX314" fmla="*/ 1459773 w 1669509"/>
              <a:gd name="connsiteY314" fmla="*/ 399774 h 776296"/>
              <a:gd name="connsiteX315" fmla="*/ 1335367 w 1669509"/>
              <a:gd name="connsiteY315" fmla="*/ 382595 h 776296"/>
              <a:gd name="connsiteX316" fmla="*/ 1368277 w 1669509"/>
              <a:gd name="connsiteY316" fmla="*/ 382595 h 776296"/>
              <a:gd name="connsiteX317" fmla="*/ 1342729 w 1669509"/>
              <a:gd name="connsiteY317" fmla="*/ 519209 h 776296"/>
              <a:gd name="connsiteX318" fmla="*/ 1310070 w 1669509"/>
              <a:gd name="connsiteY318" fmla="*/ 519209 h 776296"/>
              <a:gd name="connsiteX319" fmla="*/ 1170246 w 1669509"/>
              <a:gd name="connsiteY319" fmla="*/ 382595 h 776296"/>
              <a:gd name="connsiteX320" fmla="*/ 1203031 w 1669509"/>
              <a:gd name="connsiteY320" fmla="*/ 382595 h 776296"/>
              <a:gd name="connsiteX321" fmla="*/ 1177609 w 1669509"/>
              <a:gd name="connsiteY321" fmla="*/ 519209 h 776296"/>
              <a:gd name="connsiteX322" fmla="*/ 1144824 w 1669509"/>
              <a:gd name="connsiteY322" fmla="*/ 519209 h 776296"/>
              <a:gd name="connsiteX323" fmla="*/ 1014377 w 1669509"/>
              <a:gd name="connsiteY323" fmla="*/ 382595 h 776296"/>
              <a:gd name="connsiteX324" fmla="*/ 1046910 w 1669509"/>
              <a:gd name="connsiteY324" fmla="*/ 382595 h 776296"/>
              <a:gd name="connsiteX325" fmla="*/ 1021614 w 1669509"/>
              <a:gd name="connsiteY325" fmla="*/ 519209 h 776296"/>
              <a:gd name="connsiteX326" fmla="*/ 988829 w 1669509"/>
              <a:gd name="connsiteY326" fmla="*/ 519209 h 776296"/>
              <a:gd name="connsiteX327" fmla="*/ 1567567 w 1669509"/>
              <a:gd name="connsiteY327" fmla="*/ 379071 h 776296"/>
              <a:gd name="connsiteX328" fmla="*/ 1614322 w 1669509"/>
              <a:gd name="connsiteY328" fmla="*/ 394677 h 776296"/>
              <a:gd name="connsiteX329" fmla="*/ 1614196 w 1669509"/>
              <a:gd name="connsiteY329" fmla="*/ 394677 h 776296"/>
              <a:gd name="connsiteX330" fmla="*/ 1608344 w 1669509"/>
              <a:gd name="connsiteY330" fmla="*/ 407262 h 776296"/>
              <a:gd name="connsiteX331" fmla="*/ 1559072 w 1669509"/>
              <a:gd name="connsiteY331" fmla="*/ 413555 h 776296"/>
              <a:gd name="connsiteX332" fmla="*/ 1606330 w 1669509"/>
              <a:gd name="connsiteY332" fmla="*/ 479691 h 776296"/>
              <a:gd name="connsiteX333" fmla="*/ 1551017 w 1669509"/>
              <a:gd name="connsiteY333" fmla="*/ 522356 h 776296"/>
              <a:gd name="connsiteX334" fmla="*/ 1503822 w 1669509"/>
              <a:gd name="connsiteY334" fmla="*/ 503478 h 776296"/>
              <a:gd name="connsiteX335" fmla="*/ 1509485 w 1669509"/>
              <a:gd name="connsiteY335" fmla="*/ 490892 h 776296"/>
              <a:gd name="connsiteX336" fmla="*/ 1568070 w 1669509"/>
              <a:gd name="connsiteY336" fmla="*/ 484599 h 776296"/>
              <a:gd name="connsiteX337" fmla="*/ 1520812 w 1669509"/>
              <a:gd name="connsiteY337" fmla="*/ 423120 h 776296"/>
              <a:gd name="connsiteX338" fmla="*/ 1567567 w 1669509"/>
              <a:gd name="connsiteY338" fmla="*/ 379071 h 776296"/>
              <a:gd name="connsiteX339" fmla="*/ 1468205 w 1669509"/>
              <a:gd name="connsiteY339" fmla="*/ 379008 h 776296"/>
              <a:gd name="connsiteX340" fmla="*/ 1491245 w 1669509"/>
              <a:gd name="connsiteY340" fmla="*/ 385788 h 776296"/>
              <a:gd name="connsiteX341" fmla="*/ 1502750 w 1669509"/>
              <a:gd name="connsiteY341" fmla="*/ 407267 h 776296"/>
              <a:gd name="connsiteX342" fmla="*/ 1493769 w 1669509"/>
              <a:gd name="connsiteY342" fmla="*/ 432420 h 776296"/>
              <a:gd name="connsiteX343" fmla="*/ 1418304 w 1669509"/>
              <a:gd name="connsiteY343" fmla="*/ 462764 h 776296"/>
              <a:gd name="connsiteX344" fmla="*/ 1440706 w 1669509"/>
              <a:gd name="connsiteY344" fmla="*/ 499513 h 776296"/>
              <a:gd name="connsiteX345" fmla="*/ 1479721 w 1669509"/>
              <a:gd name="connsiteY345" fmla="*/ 491018 h 776296"/>
              <a:gd name="connsiteX346" fmla="*/ 1485447 w 1669509"/>
              <a:gd name="connsiteY346" fmla="*/ 503603 h 776296"/>
              <a:gd name="connsiteX347" fmla="*/ 1426422 w 1669509"/>
              <a:gd name="connsiteY347" fmla="*/ 522481 h 776296"/>
              <a:gd name="connsiteX348" fmla="*/ 1382373 w 1669509"/>
              <a:gd name="connsiteY348" fmla="*/ 471762 h 776296"/>
              <a:gd name="connsiteX349" fmla="*/ 1468205 w 1669509"/>
              <a:gd name="connsiteY349" fmla="*/ 379008 h 776296"/>
              <a:gd name="connsiteX350" fmla="*/ 1096749 w 1669509"/>
              <a:gd name="connsiteY350" fmla="*/ 341063 h 776296"/>
              <a:gd name="connsiteX351" fmla="*/ 1129470 w 1669509"/>
              <a:gd name="connsiteY351" fmla="*/ 341063 h 776296"/>
              <a:gd name="connsiteX352" fmla="*/ 1105684 w 1669509"/>
              <a:gd name="connsiteY352" fmla="*/ 469245 h 776296"/>
              <a:gd name="connsiteX353" fmla="*/ 1124562 w 1669509"/>
              <a:gd name="connsiteY353" fmla="*/ 502093 h 776296"/>
              <a:gd name="connsiteX354" fmla="*/ 1130163 w 1669509"/>
              <a:gd name="connsiteY354" fmla="*/ 514678 h 776296"/>
              <a:gd name="connsiteX355" fmla="*/ 1102349 w 1669509"/>
              <a:gd name="connsiteY355" fmla="*/ 522544 h 776296"/>
              <a:gd name="connsiteX356" fmla="*/ 1071892 w 1669509"/>
              <a:gd name="connsiteY356" fmla="*/ 473650 h 776296"/>
              <a:gd name="connsiteX357" fmla="*/ 736492 w 1669509"/>
              <a:gd name="connsiteY357" fmla="*/ 341063 h 776296"/>
              <a:gd name="connsiteX358" fmla="*/ 778150 w 1669509"/>
              <a:gd name="connsiteY358" fmla="*/ 341063 h 776296"/>
              <a:gd name="connsiteX359" fmla="*/ 759272 w 1669509"/>
              <a:gd name="connsiteY359" fmla="*/ 444515 h 776296"/>
              <a:gd name="connsiteX360" fmla="*/ 785764 w 1669509"/>
              <a:gd name="connsiteY360" fmla="*/ 494038 h 776296"/>
              <a:gd name="connsiteX361" fmla="*/ 829184 w 1669509"/>
              <a:gd name="connsiteY361" fmla="*/ 444641 h 776296"/>
              <a:gd name="connsiteX362" fmla="*/ 848062 w 1669509"/>
              <a:gd name="connsiteY362" fmla="*/ 341063 h 776296"/>
              <a:gd name="connsiteX363" fmla="*/ 889467 w 1669509"/>
              <a:gd name="connsiteY363" fmla="*/ 341063 h 776296"/>
              <a:gd name="connsiteX364" fmla="*/ 873673 w 1669509"/>
              <a:gd name="connsiteY364" fmla="*/ 426203 h 776296"/>
              <a:gd name="connsiteX365" fmla="*/ 779283 w 1669509"/>
              <a:gd name="connsiteY365" fmla="*/ 522544 h 776296"/>
              <a:gd name="connsiteX366" fmla="*/ 720761 w 1669509"/>
              <a:gd name="connsiteY366" fmla="*/ 425951 h 776296"/>
              <a:gd name="connsiteX367" fmla="*/ 1249724 w 1669509"/>
              <a:gd name="connsiteY367" fmla="*/ 340811 h 776296"/>
              <a:gd name="connsiteX368" fmla="*/ 1282446 w 1669509"/>
              <a:gd name="connsiteY368" fmla="*/ 340811 h 776296"/>
              <a:gd name="connsiteX369" fmla="*/ 1274706 w 1669509"/>
              <a:gd name="connsiteY369" fmla="*/ 382343 h 776296"/>
              <a:gd name="connsiteX370" fmla="*/ 1307365 w 1669509"/>
              <a:gd name="connsiteY370" fmla="*/ 382343 h 776296"/>
              <a:gd name="connsiteX371" fmla="*/ 1304155 w 1669509"/>
              <a:gd name="connsiteY371" fmla="*/ 401221 h 776296"/>
              <a:gd name="connsiteX372" fmla="*/ 1271371 w 1669509"/>
              <a:gd name="connsiteY372" fmla="*/ 401221 h 776296"/>
              <a:gd name="connsiteX373" fmla="*/ 1258785 w 1669509"/>
              <a:gd name="connsiteY373" fmla="*/ 469245 h 776296"/>
              <a:gd name="connsiteX374" fmla="*/ 1274882 w 1669509"/>
              <a:gd name="connsiteY374" fmla="*/ 502588 h 776296"/>
              <a:gd name="connsiteX375" fmla="*/ 1286444 w 1669509"/>
              <a:gd name="connsiteY375" fmla="*/ 499525 h 776296"/>
              <a:gd name="connsiteX376" fmla="*/ 1292136 w 1669509"/>
              <a:gd name="connsiteY376" fmla="*/ 512035 h 776296"/>
              <a:gd name="connsiteX377" fmla="*/ 1255387 w 1669509"/>
              <a:gd name="connsiteY377" fmla="*/ 522292 h 776296"/>
              <a:gd name="connsiteX378" fmla="*/ 1224930 w 1669509"/>
              <a:gd name="connsiteY378" fmla="*/ 473461 h 776296"/>
              <a:gd name="connsiteX379" fmla="*/ 928797 w 1669509"/>
              <a:gd name="connsiteY379" fmla="*/ 340811 h 776296"/>
              <a:gd name="connsiteX380" fmla="*/ 961519 w 1669509"/>
              <a:gd name="connsiteY380" fmla="*/ 340811 h 776296"/>
              <a:gd name="connsiteX381" fmla="*/ 953967 w 1669509"/>
              <a:gd name="connsiteY381" fmla="*/ 382343 h 776296"/>
              <a:gd name="connsiteX382" fmla="*/ 986626 w 1669509"/>
              <a:gd name="connsiteY382" fmla="*/ 382343 h 776296"/>
              <a:gd name="connsiteX383" fmla="*/ 983291 w 1669509"/>
              <a:gd name="connsiteY383" fmla="*/ 401221 h 776296"/>
              <a:gd name="connsiteX384" fmla="*/ 950443 w 1669509"/>
              <a:gd name="connsiteY384" fmla="*/ 401221 h 776296"/>
              <a:gd name="connsiteX385" fmla="*/ 937858 w 1669509"/>
              <a:gd name="connsiteY385" fmla="*/ 469245 h 776296"/>
              <a:gd name="connsiteX386" fmla="*/ 953734 w 1669509"/>
              <a:gd name="connsiteY386" fmla="*/ 502588 h 776296"/>
              <a:gd name="connsiteX387" fmla="*/ 965679 w 1669509"/>
              <a:gd name="connsiteY387" fmla="*/ 499465 h 776296"/>
              <a:gd name="connsiteX388" fmla="*/ 971398 w 1669509"/>
              <a:gd name="connsiteY388" fmla="*/ 512035 h 776296"/>
              <a:gd name="connsiteX389" fmla="*/ 934649 w 1669509"/>
              <a:gd name="connsiteY389" fmla="*/ 522292 h 776296"/>
              <a:gd name="connsiteX390" fmla="*/ 904255 w 1669509"/>
              <a:gd name="connsiteY390" fmla="*/ 473461 h 776296"/>
              <a:gd name="connsiteX391" fmla="*/ 1358839 w 1669509"/>
              <a:gd name="connsiteY391" fmla="*/ 327219 h 776296"/>
              <a:gd name="connsiteX392" fmla="*/ 1376584 w 1669509"/>
              <a:gd name="connsiteY392" fmla="*/ 345217 h 776296"/>
              <a:gd name="connsiteX393" fmla="*/ 1358587 w 1669509"/>
              <a:gd name="connsiteY393" fmla="*/ 362961 h 776296"/>
              <a:gd name="connsiteX394" fmla="*/ 1340841 w 1669509"/>
              <a:gd name="connsiteY394" fmla="*/ 344965 h 776296"/>
              <a:gd name="connsiteX395" fmla="*/ 1358839 w 1669509"/>
              <a:gd name="connsiteY395" fmla="*/ 327219 h 776296"/>
              <a:gd name="connsiteX396" fmla="*/ 1193656 w 1669509"/>
              <a:gd name="connsiteY396" fmla="*/ 327219 h 776296"/>
              <a:gd name="connsiteX397" fmla="*/ 1211401 w 1669509"/>
              <a:gd name="connsiteY397" fmla="*/ 345217 h 776296"/>
              <a:gd name="connsiteX398" fmla="*/ 1193404 w 1669509"/>
              <a:gd name="connsiteY398" fmla="*/ 362961 h 776296"/>
              <a:gd name="connsiteX399" fmla="*/ 1175658 w 1669509"/>
              <a:gd name="connsiteY399" fmla="*/ 344965 h 776296"/>
              <a:gd name="connsiteX400" fmla="*/ 1193656 w 1669509"/>
              <a:gd name="connsiteY400" fmla="*/ 327219 h 776296"/>
              <a:gd name="connsiteX401" fmla="*/ 1037471 w 1669509"/>
              <a:gd name="connsiteY401" fmla="*/ 327219 h 776296"/>
              <a:gd name="connsiteX402" fmla="*/ 1054253 w 1669509"/>
              <a:gd name="connsiteY402" fmla="*/ 343998 h 776296"/>
              <a:gd name="connsiteX403" fmla="*/ 1037471 w 1669509"/>
              <a:gd name="connsiteY403" fmla="*/ 362899 h 776296"/>
              <a:gd name="connsiteX404" fmla="*/ 1020688 w 1669509"/>
              <a:gd name="connsiteY404" fmla="*/ 346118 h 776296"/>
              <a:gd name="connsiteX405" fmla="*/ 1037471 w 1669509"/>
              <a:gd name="connsiteY405" fmla="*/ 327219 h 776296"/>
              <a:gd name="connsiteX406" fmla="*/ 1418745 w 1669509"/>
              <a:gd name="connsiteY406" fmla="*/ 108611 h 776296"/>
              <a:gd name="connsiteX407" fmla="*/ 1418810 w 1669509"/>
              <a:gd name="connsiteY407" fmla="*/ 108628 h 776296"/>
              <a:gd name="connsiteX408" fmla="*/ 1402891 w 1669509"/>
              <a:gd name="connsiteY408" fmla="*/ 112986 h 776296"/>
              <a:gd name="connsiteX409" fmla="*/ 1368529 w 1669509"/>
              <a:gd name="connsiteY409" fmla="*/ 170594 h 776296"/>
              <a:gd name="connsiteX410" fmla="*/ 1434980 w 1669509"/>
              <a:gd name="connsiteY410" fmla="*/ 124469 h 776296"/>
              <a:gd name="connsiteX411" fmla="*/ 1434936 w 1669509"/>
              <a:gd name="connsiteY411" fmla="*/ 120838 h 776296"/>
              <a:gd name="connsiteX412" fmla="*/ 1429373 w 1669509"/>
              <a:gd name="connsiteY412" fmla="*/ 111371 h 776296"/>
              <a:gd name="connsiteX413" fmla="*/ 1418810 w 1669509"/>
              <a:gd name="connsiteY413" fmla="*/ 108628 h 776296"/>
              <a:gd name="connsiteX414" fmla="*/ 1418871 w 1669509"/>
              <a:gd name="connsiteY414" fmla="*/ 108611 h 776296"/>
              <a:gd name="connsiteX415" fmla="*/ 1580845 w 1669509"/>
              <a:gd name="connsiteY415" fmla="*/ 106786 h 776296"/>
              <a:gd name="connsiteX416" fmla="*/ 1525406 w 1669509"/>
              <a:gd name="connsiteY416" fmla="*/ 199981 h 776296"/>
              <a:gd name="connsiteX417" fmla="*/ 1549067 w 1669509"/>
              <a:gd name="connsiteY417" fmla="*/ 241198 h 776296"/>
              <a:gd name="connsiteX418" fmla="*/ 1611176 w 1669509"/>
              <a:gd name="connsiteY418" fmla="*/ 123336 h 776296"/>
              <a:gd name="connsiteX419" fmla="*/ 1580845 w 1669509"/>
              <a:gd name="connsiteY419" fmla="*/ 106975 h 776296"/>
              <a:gd name="connsiteX420" fmla="*/ 1148097 w 1669509"/>
              <a:gd name="connsiteY420" fmla="*/ 86083 h 776296"/>
              <a:gd name="connsiteX421" fmla="*/ 1189754 w 1669509"/>
              <a:gd name="connsiteY421" fmla="*/ 86083 h 776296"/>
              <a:gd name="connsiteX422" fmla="*/ 1157473 w 1669509"/>
              <a:gd name="connsiteY422" fmla="*/ 260579 h 776296"/>
              <a:gd name="connsiteX423" fmla="*/ 1115815 w 1669509"/>
              <a:gd name="connsiteY423" fmla="*/ 260579 h 776296"/>
              <a:gd name="connsiteX424" fmla="*/ 1429631 w 1669509"/>
              <a:gd name="connsiteY424" fmla="*/ 81930 h 776296"/>
              <a:gd name="connsiteX425" fmla="*/ 1473680 w 1669509"/>
              <a:gd name="connsiteY425" fmla="*/ 118302 h 776296"/>
              <a:gd name="connsiteX426" fmla="*/ 1473491 w 1669509"/>
              <a:gd name="connsiteY426" fmla="*/ 118302 h 776296"/>
              <a:gd name="connsiteX427" fmla="*/ 1365823 w 1669509"/>
              <a:gd name="connsiteY427" fmla="*/ 188906 h 776296"/>
              <a:gd name="connsiteX428" fmla="*/ 1394581 w 1669509"/>
              <a:gd name="connsiteY428" fmla="*/ 235786 h 776296"/>
              <a:gd name="connsiteX429" fmla="*/ 1444167 w 1669509"/>
              <a:gd name="connsiteY429" fmla="*/ 224900 h 776296"/>
              <a:gd name="connsiteX430" fmla="*/ 1451593 w 1669509"/>
              <a:gd name="connsiteY430" fmla="*/ 240569 h 776296"/>
              <a:gd name="connsiteX431" fmla="*/ 1376521 w 1669509"/>
              <a:gd name="connsiteY431" fmla="*/ 264544 h 776296"/>
              <a:gd name="connsiteX432" fmla="*/ 1320516 w 1669509"/>
              <a:gd name="connsiteY432" fmla="*/ 200295 h 776296"/>
              <a:gd name="connsiteX433" fmla="*/ 1429631 w 1669509"/>
              <a:gd name="connsiteY433" fmla="*/ 81930 h 776296"/>
              <a:gd name="connsiteX434" fmla="*/ 1030800 w 1669509"/>
              <a:gd name="connsiteY434" fmla="*/ 81553 h 776296"/>
              <a:gd name="connsiteX435" fmla="*/ 1089259 w 1669509"/>
              <a:gd name="connsiteY435" fmla="*/ 178460 h 776296"/>
              <a:gd name="connsiteX436" fmla="*/ 1074094 w 1669509"/>
              <a:gd name="connsiteY436" fmla="*/ 260265 h 776296"/>
              <a:gd name="connsiteX437" fmla="*/ 1032562 w 1669509"/>
              <a:gd name="connsiteY437" fmla="*/ 260265 h 776296"/>
              <a:gd name="connsiteX438" fmla="*/ 1051000 w 1669509"/>
              <a:gd name="connsiteY438" fmla="*/ 159582 h 776296"/>
              <a:gd name="connsiteX439" fmla="*/ 1024445 w 1669509"/>
              <a:gd name="connsiteY439" fmla="*/ 110122 h 776296"/>
              <a:gd name="connsiteX440" fmla="*/ 981025 w 1669509"/>
              <a:gd name="connsiteY440" fmla="*/ 159456 h 776296"/>
              <a:gd name="connsiteX441" fmla="*/ 962651 w 1669509"/>
              <a:gd name="connsiteY441" fmla="*/ 260139 h 776296"/>
              <a:gd name="connsiteX442" fmla="*/ 920930 w 1669509"/>
              <a:gd name="connsiteY442" fmla="*/ 260139 h 776296"/>
              <a:gd name="connsiteX443" fmla="*/ 936221 w 1669509"/>
              <a:gd name="connsiteY443" fmla="*/ 178334 h 776296"/>
              <a:gd name="connsiteX444" fmla="*/ 1030612 w 1669509"/>
              <a:gd name="connsiteY444" fmla="*/ 81805 h 776296"/>
              <a:gd name="connsiteX445" fmla="*/ 1627789 w 1669509"/>
              <a:gd name="connsiteY445" fmla="*/ 33980 h 776296"/>
              <a:gd name="connsiteX446" fmla="*/ 1669509 w 1669509"/>
              <a:gd name="connsiteY446" fmla="*/ 33980 h 776296"/>
              <a:gd name="connsiteX447" fmla="*/ 1647736 w 1669509"/>
              <a:gd name="connsiteY447" fmla="*/ 151150 h 776296"/>
              <a:gd name="connsiteX448" fmla="*/ 1543529 w 1669509"/>
              <a:gd name="connsiteY448" fmla="*/ 264418 h 776296"/>
              <a:gd name="connsiteX449" fmla="*/ 1483623 w 1669509"/>
              <a:gd name="connsiteY449" fmla="*/ 199666 h 776296"/>
              <a:gd name="connsiteX450" fmla="*/ 1576188 w 1669509"/>
              <a:gd name="connsiteY450" fmla="*/ 81804 h 776296"/>
              <a:gd name="connsiteX451" fmla="*/ 1616084 w 1669509"/>
              <a:gd name="connsiteY451" fmla="*/ 98040 h 776296"/>
              <a:gd name="connsiteX452" fmla="*/ 743414 w 1669509"/>
              <a:gd name="connsiteY452" fmla="*/ 33980 h 776296"/>
              <a:gd name="connsiteX453" fmla="*/ 793756 w 1669509"/>
              <a:gd name="connsiteY453" fmla="*/ 33980 h 776296"/>
              <a:gd name="connsiteX454" fmla="*/ 768585 w 1669509"/>
              <a:gd name="connsiteY454" fmla="*/ 169902 h 776296"/>
              <a:gd name="connsiteX455" fmla="*/ 800992 w 1669509"/>
              <a:gd name="connsiteY455" fmla="*/ 230060 h 776296"/>
              <a:gd name="connsiteX456" fmla="*/ 853159 w 1669509"/>
              <a:gd name="connsiteY456" fmla="*/ 170342 h 776296"/>
              <a:gd name="connsiteX457" fmla="*/ 878329 w 1669509"/>
              <a:gd name="connsiteY457" fmla="*/ 33980 h 776296"/>
              <a:gd name="connsiteX458" fmla="*/ 928356 w 1669509"/>
              <a:gd name="connsiteY458" fmla="*/ 33980 h 776296"/>
              <a:gd name="connsiteX459" fmla="*/ 907402 w 1669509"/>
              <a:gd name="connsiteY459" fmla="*/ 147437 h 776296"/>
              <a:gd name="connsiteX460" fmla="*/ 793126 w 1669509"/>
              <a:gd name="connsiteY460" fmla="*/ 264292 h 776296"/>
              <a:gd name="connsiteX461" fmla="*/ 722208 w 1669509"/>
              <a:gd name="connsiteY461" fmla="*/ 147248 h 776296"/>
              <a:gd name="connsiteX462" fmla="*/ 1247017 w 1669509"/>
              <a:gd name="connsiteY462" fmla="*/ 33728 h 776296"/>
              <a:gd name="connsiteX463" fmla="*/ 1288675 w 1669509"/>
              <a:gd name="connsiteY463" fmla="*/ 33728 h 776296"/>
              <a:gd name="connsiteX464" fmla="*/ 1278984 w 1669509"/>
              <a:gd name="connsiteY464" fmla="*/ 85768 h 776296"/>
              <a:gd name="connsiteX465" fmla="*/ 1320641 w 1669509"/>
              <a:gd name="connsiteY465" fmla="*/ 85768 h 776296"/>
              <a:gd name="connsiteX466" fmla="*/ 1316488 w 1669509"/>
              <a:gd name="connsiteY466" fmla="*/ 109995 h 776296"/>
              <a:gd name="connsiteX467" fmla="*/ 1274516 w 1669509"/>
              <a:gd name="connsiteY467" fmla="*/ 109995 h 776296"/>
              <a:gd name="connsiteX468" fmla="*/ 1258155 w 1669509"/>
              <a:gd name="connsiteY468" fmla="*/ 196897 h 776296"/>
              <a:gd name="connsiteX469" fmla="*/ 1293709 w 1669509"/>
              <a:gd name="connsiteY469" fmla="*/ 235408 h 776296"/>
              <a:gd name="connsiteX470" fmla="*/ 1300945 w 1669509"/>
              <a:gd name="connsiteY470" fmla="*/ 251707 h 776296"/>
              <a:gd name="connsiteX471" fmla="*/ 1254191 w 1669509"/>
              <a:gd name="connsiteY471" fmla="*/ 264292 h 776296"/>
              <a:gd name="connsiteX472" fmla="*/ 1215554 w 1669509"/>
              <a:gd name="connsiteY472" fmla="*/ 202183 h 776296"/>
              <a:gd name="connsiteX473" fmla="*/ 1177861 w 1669509"/>
              <a:gd name="connsiteY473" fmla="*/ 16046 h 776296"/>
              <a:gd name="connsiteX474" fmla="*/ 1200577 w 1669509"/>
              <a:gd name="connsiteY474" fmla="*/ 38888 h 776296"/>
              <a:gd name="connsiteX475" fmla="*/ 1177861 w 1669509"/>
              <a:gd name="connsiteY475" fmla="*/ 61479 h 776296"/>
              <a:gd name="connsiteX476" fmla="*/ 1155144 w 1669509"/>
              <a:gd name="connsiteY476" fmla="*/ 38763 h 776296"/>
              <a:gd name="connsiteX477" fmla="*/ 1177861 w 1669509"/>
              <a:gd name="connsiteY477" fmla="*/ 16046 h 776296"/>
              <a:gd name="connsiteX478" fmla="*/ 323377 w 1669509"/>
              <a:gd name="connsiteY478" fmla="*/ 11830 h 776296"/>
              <a:gd name="connsiteX479" fmla="*/ 549914 w 1669509"/>
              <a:gd name="connsiteY479" fmla="*/ 119561 h 776296"/>
              <a:gd name="connsiteX480" fmla="*/ 308589 w 1669509"/>
              <a:gd name="connsiteY480" fmla="*/ 372904 h 776296"/>
              <a:gd name="connsiteX481" fmla="*/ 323377 w 1669509"/>
              <a:gd name="connsiteY481" fmla="*/ 11830 h 776296"/>
              <a:gd name="connsiteX482" fmla="*/ 183427 w 1669509"/>
              <a:gd name="connsiteY482" fmla="*/ 0 h 776296"/>
              <a:gd name="connsiteX483" fmla="*/ 282915 w 1669509"/>
              <a:gd name="connsiteY483" fmla="*/ 462072 h 776296"/>
              <a:gd name="connsiteX484" fmla="*/ 573637 w 1669509"/>
              <a:gd name="connsiteY484" fmla="*/ 136111 h 776296"/>
              <a:gd name="connsiteX485" fmla="*/ 621524 w 1669509"/>
              <a:gd name="connsiteY485" fmla="*/ 174181 h 776296"/>
              <a:gd name="connsiteX486" fmla="*/ 263974 w 1669509"/>
              <a:gd name="connsiteY486" fmla="*/ 550106 h 776296"/>
              <a:gd name="connsiteX487" fmla="*/ 107915 w 1669509"/>
              <a:gd name="connsiteY487" fmla="*/ 21961 h 776296"/>
              <a:gd name="connsiteX488" fmla="*/ 183427 w 1669509"/>
              <a:gd name="connsiteY488" fmla="*/ 0 h 7762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</a:cxnLst>
            <a:rect l="l" t="t" r="r" b="b"/>
            <a:pathLst>
              <a:path w="1669509" h="776296">
                <a:moveTo>
                  <a:pt x="245221" y="741843"/>
                </a:moveTo>
                <a:lnTo>
                  <a:pt x="226910" y="744612"/>
                </a:lnTo>
                <a:cubicBezTo>
                  <a:pt x="221750" y="745493"/>
                  <a:pt x="217597" y="748325"/>
                  <a:pt x="217597" y="754114"/>
                </a:cubicBezTo>
                <a:cubicBezTo>
                  <a:pt x="217674" y="759224"/>
                  <a:pt x="221878" y="763301"/>
                  <a:pt x="226986" y="763226"/>
                </a:cubicBezTo>
                <a:cubicBezTo>
                  <a:pt x="227255" y="763220"/>
                  <a:pt x="227523" y="763201"/>
                  <a:pt x="227791" y="763176"/>
                </a:cubicBezTo>
                <a:cubicBezTo>
                  <a:pt x="236573" y="764063"/>
                  <a:pt x="244411" y="757657"/>
                  <a:pt x="245296" y="748872"/>
                </a:cubicBezTo>
                <a:cubicBezTo>
                  <a:pt x="245424" y="747601"/>
                  <a:pt x="245399" y="746317"/>
                  <a:pt x="245221" y="745053"/>
                </a:cubicBezTo>
                <a:close/>
                <a:moveTo>
                  <a:pt x="1046721" y="716988"/>
                </a:moveTo>
                <a:cubicBezTo>
                  <a:pt x="1036338" y="716988"/>
                  <a:pt x="1027151" y="724476"/>
                  <a:pt x="1027151" y="739013"/>
                </a:cubicBezTo>
                <a:cubicBezTo>
                  <a:pt x="1027151" y="753549"/>
                  <a:pt x="1036527" y="761289"/>
                  <a:pt x="1046721" y="761289"/>
                </a:cubicBezTo>
                <a:cubicBezTo>
                  <a:pt x="1056915" y="761289"/>
                  <a:pt x="1066292" y="753675"/>
                  <a:pt x="1066292" y="739013"/>
                </a:cubicBezTo>
                <a:cubicBezTo>
                  <a:pt x="1066292" y="724476"/>
                  <a:pt x="1057104" y="716988"/>
                  <a:pt x="1046721" y="716988"/>
                </a:cubicBezTo>
                <a:close/>
                <a:moveTo>
                  <a:pt x="552368" y="716988"/>
                </a:moveTo>
                <a:cubicBezTo>
                  <a:pt x="541985" y="716988"/>
                  <a:pt x="532798" y="724476"/>
                  <a:pt x="532798" y="739013"/>
                </a:cubicBezTo>
                <a:cubicBezTo>
                  <a:pt x="532798" y="753549"/>
                  <a:pt x="542111" y="761415"/>
                  <a:pt x="552368" y="761415"/>
                </a:cubicBezTo>
                <a:cubicBezTo>
                  <a:pt x="562625" y="761415"/>
                  <a:pt x="571938" y="753800"/>
                  <a:pt x="571938" y="739138"/>
                </a:cubicBezTo>
                <a:lnTo>
                  <a:pt x="571938" y="739013"/>
                </a:lnTo>
                <a:cubicBezTo>
                  <a:pt x="571938" y="724476"/>
                  <a:pt x="562751" y="716988"/>
                  <a:pt x="552368" y="716988"/>
                </a:cubicBezTo>
                <a:close/>
                <a:moveTo>
                  <a:pt x="835111" y="715723"/>
                </a:moveTo>
                <a:cubicBezTo>
                  <a:pt x="834645" y="715723"/>
                  <a:pt x="834179" y="715748"/>
                  <a:pt x="833714" y="715792"/>
                </a:cubicBezTo>
                <a:cubicBezTo>
                  <a:pt x="824784" y="715597"/>
                  <a:pt x="817265" y="722431"/>
                  <a:pt x="816598" y="731335"/>
                </a:cubicBezTo>
                <a:lnTo>
                  <a:pt x="850956" y="731335"/>
                </a:lnTo>
                <a:cubicBezTo>
                  <a:pt x="850893" y="722645"/>
                  <a:pt x="843795" y="715653"/>
                  <a:pt x="835111" y="715723"/>
                </a:cubicBezTo>
                <a:close/>
                <a:moveTo>
                  <a:pt x="351584" y="715716"/>
                </a:moveTo>
                <a:cubicBezTo>
                  <a:pt x="351095" y="715716"/>
                  <a:pt x="350607" y="715741"/>
                  <a:pt x="350121" y="715792"/>
                </a:cubicBezTo>
                <a:cubicBezTo>
                  <a:pt x="341191" y="715597"/>
                  <a:pt x="333672" y="722431"/>
                  <a:pt x="333005" y="731335"/>
                </a:cubicBezTo>
                <a:lnTo>
                  <a:pt x="367426" y="731335"/>
                </a:lnTo>
                <a:cubicBezTo>
                  <a:pt x="367365" y="722645"/>
                  <a:pt x="360273" y="715653"/>
                  <a:pt x="351584" y="715716"/>
                </a:cubicBezTo>
                <a:close/>
                <a:moveTo>
                  <a:pt x="1469609" y="715710"/>
                </a:moveTo>
                <a:cubicBezTo>
                  <a:pt x="1469099" y="715716"/>
                  <a:pt x="1468590" y="715741"/>
                  <a:pt x="1468080" y="715792"/>
                </a:cubicBezTo>
                <a:cubicBezTo>
                  <a:pt x="1459151" y="715597"/>
                  <a:pt x="1451631" y="722431"/>
                  <a:pt x="1450964" y="731335"/>
                </a:cubicBezTo>
                <a:lnTo>
                  <a:pt x="1485322" y="731335"/>
                </a:lnTo>
                <a:cubicBezTo>
                  <a:pt x="1485297" y="722682"/>
                  <a:pt x="1478262" y="715685"/>
                  <a:pt x="1469609" y="715710"/>
                </a:cubicBezTo>
                <a:close/>
                <a:moveTo>
                  <a:pt x="635872" y="703144"/>
                </a:moveTo>
                <a:cubicBezTo>
                  <a:pt x="637369" y="703157"/>
                  <a:pt x="638867" y="703308"/>
                  <a:pt x="640339" y="703585"/>
                </a:cubicBezTo>
                <a:lnTo>
                  <a:pt x="640339" y="720575"/>
                </a:lnTo>
                <a:cubicBezTo>
                  <a:pt x="638527" y="720279"/>
                  <a:pt x="636696" y="720128"/>
                  <a:pt x="634865" y="720134"/>
                </a:cubicBezTo>
                <a:cubicBezTo>
                  <a:pt x="621902" y="720134"/>
                  <a:pt x="615987" y="727623"/>
                  <a:pt x="615987" y="740712"/>
                </a:cubicBezTo>
                <a:lnTo>
                  <a:pt x="615987" y="774000"/>
                </a:lnTo>
                <a:lnTo>
                  <a:pt x="599311" y="774000"/>
                </a:lnTo>
                <a:lnTo>
                  <a:pt x="599311" y="704025"/>
                </a:lnTo>
                <a:lnTo>
                  <a:pt x="615609" y="704025"/>
                </a:lnTo>
                <a:lnTo>
                  <a:pt x="615609" y="715226"/>
                </a:lnTo>
                <a:cubicBezTo>
                  <a:pt x="619280" y="707455"/>
                  <a:pt x="627290" y="702679"/>
                  <a:pt x="635872" y="703144"/>
                </a:cubicBezTo>
                <a:close/>
                <a:moveTo>
                  <a:pt x="431485" y="703144"/>
                </a:moveTo>
                <a:cubicBezTo>
                  <a:pt x="432985" y="703156"/>
                  <a:pt x="434480" y="703307"/>
                  <a:pt x="435953" y="703584"/>
                </a:cubicBezTo>
                <a:lnTo>
                  <a:pt x="435953" y="720575"/>
                </a:lnTo>
                <a:cubicBezTo>
                  <a:pt x="434144" y="720273"/>
                  <a:pt x="432312" y="720128"/>
                  <a:pt x="430479" y="720134"/>
                </a:cubicBezTo>
                <a:cubicBezTo>
                  <a:pt x="417579" y="720134"/>
                  <a:pt x="411601" y="727622"/>
                  <a:pt x="411601" y="740711"/>
                </a:cubicBezTo>
                <a:lnTo>
                  <a:pt x="411601" y="774000"/>
                </a:lnTo>
                <a:lnTo>
                  <a:pt x="394925" y="774000"/>
                </a:lnTo>
                <a:lnTo>
                  <a:pt x="394925" y="704025"/>
                </a:lnTo>
                <a:lnTo>
                  <a:pt x="411223" y="704025"/>
                </a:lnTo>
                <a:lnTo>
                  <a:pt x="411223" y="715226"/>
                </a:lnTo>
                <a:cubicBezTo>
                  <a:pt x="414907" y="707467"/>
                  <a:pt x="422908" y="702697"/>
                  <a:pt x="431485" y="703144"/>
                </a:cubicBezTo>
                <a:close/>
                <a:moveTo>
                  <a:pt x="1131735" y="703143"/>
                </a:moveTo>
                <a:cubicBezTo>
                  <a:pt x="1133214" y="703156"/>
                  <a:pt x="1134687" y="703301"/>
                  <a:pt x="1136140" y="703584"/>
                </a:cubicBezTo>
                <a:lnTo>
                  <a:pt x="1135952" y="720574"/>
                </a:lnTo>
                <a:cubicBezTo>
                  <a:pt x="1134139" y="720272"/>
                  <a:pt x="1132308" y="720127"/>
                  <a:pt x="1130477" y="720134"/>
                </a:cubicBezTo>
                <a:cubicBezTo>
                  <a:pt x="1117577" y="720134"/>
                  <a:pt x="1111599" y="727622"/>
                  <a:pt x="1111599" y="740711"/>
                </a:cubicBezTo>
                <a:lnTo>
                  <a:pt x="1111599" y="773999"/>
                </a:lnTo>
                <a:lnTo>
                  <a:pt x="1095175" y="773999"/>
                </a:lnTo>
                <a:lnTo>
                  <a:pt x="1095175" y="704024"/>
                </a:lnTo>
                <a:lnTo>
                  <a:pt x="1111410" y="704024"/>
                </a:lnTo>
                <a:lnTo>
                  <a:pt x="1111410" y="715225"/>
                </a:lnTo>
                <a:cubicBezTo>
                  <a:pt x="1115117" y="707454"/>
                  <a:pt x="1123140" y="702684"/>
                  <a:pt x="1131735" y="703143"/>
                </a:cubicBezTo>
                <a:close/>
                <a:moveTo>
                  <a:pt x="1468332" y="701885"/>
                </a:moveTo>
                <a:cubicBezTo>
                  <a:pt x="1489916" y="701885"/>
                  <a:pt x="1502627" y="716106"/>
                  <a:pt x="1502627" y="738257"/>
                </a:cubicBezTo>
                <a:cubicBezTo>
                  <a:pt x="1502665" y="740050"/>
                  <a:pt x="1502520" y="741844"/>
                  <a:pt x="1502186" y="743605"/>
                </a:cubicBezTo>
                <a:lnTo>
                  <a:pt x="1450964" y="743605"/>
                </a:lnTo>
                <a:cubicBezTo>
                  <a:pt x="1451304" y="753787"/>
                  <a:pt x="1459654" y="761861"/>
                  <a:pt x="1469842" y="761854"/>
                </a:cubicBezTo>
                <a:cubicBezTo>
                  <a:pt x="1477846" y="762465"/>
                  <a:pt x="1485183" y="757368"/>
                  <a:pt x="1487398" y="749646"/>
                </a:cubicBezTo>
                <a:lnTo>
                  <a:pt x="1501557" y="754114"/>
                </a:lnTo>
                <a:cubicBezTo>
                  <a:pt x="1497335" y="767795"/>
                  <a:pt x="1484403" y="776900"/>
                  <a:pt x="1470094" y="776265"/>
                </a:cubicBezTo>
                <a:cubicBezTo>
                  <a:pt x="1449529" y="775660"/>
                  <a:pt x="1433344" y="758500"/>
                  <a:pt x="1433955" y="737929"/>
                </a:cubicBezTo>
                <a:cubicBezTo>
                  <a:pt x="1434515" y="718894"/>
                  <a:pt x="1449340" y="703345"/>
                  <a:pt x="1468332" y="701885"/>
                </a:cubicBezTo>
                <a:close/>
                <a:moveTo>
                  <a:pt x="833714" y="701885"/>
                </a:moveTo>
                <a:cubicBezTo>
                  <a:pt x="855298" y="701885"/>
                  <a:pt x="868009" y="716106"/>
                  <a:pt x="868009" y="738257"/>
                </a:cubicBezTo>
                <a:cubicBezTo>
                  <a:pt x="868047" y="740050"/>
                  <a:pt x="867902" y="741844"/>
                  <a:pt x="867568" y="743605"/>
                </a:cubicBezTo>
                <a:lnTo>
                  <a:pt x="816346" y="743605"/>
                </a:lnTo>
                <a:cubicBezTo>
                  <a:pt x="816686" y="753787"/>
                  <a:pt x="825036" y="761861"/>
                  <a:pt x="835224" y="761854"/>
                </a:cubicBezTo>
                <a:cubicBezTo>
                  <a:pt x="843228" y="762465"/>
                  <a:pt x="850566" y="757368"/>
                  <a:pt x="852780" y="749646"/>
                </a:cubicBezTo>
                <a:lnTo>
                  <a:pt x="866939" y="754114"/>
                </a:lnTo>
                <a:cubicBezTo>
                  <a:pt x="862717" y="767795"/>
                  <a:pt x="849785" y="776900"/>
                  <a:pt x="835476" y="776265"/>
                </a:cubicBezTo>
                <a:cubicBezTo>
                  <a:pt x="814911" y="775660"/>
                  <a:pt x="798726" y="758500"/>
                  <a:pt x="799337" y="737929"/>
                </a:cubicBezTo>
                <a:cubicBezTo>
                  <a:pt x="799897" y="718894"/>
                  <a:pt x="814722" y="703345"/>
                  <a:pt x="833714" y="701885"/>
                </a:cubicBezTo>
                <a:close/>
                <a:moveTo>
                  <a:pt x="350184" y="701885"/>
                </a:moveTo>
                <a:cubicBezTo>
                  <a:pt x="371768" y="701885"/>
                  <a:pt x="384416" y="716106"/>
                  <a:pt x="384416" y="738257"/>
                </a:cubicBezTo>
                <a:cubicBezTo>
                  <a:pt x="384489" y="740050"/>
                  <a:pt x="384341" y="741850"/>
                  <a:pt x="383975" y="743605"/>
                </a:cubicBezTo>
                <a:lnTo>
                  <a:pt x="332564" y="743605"/>
                </a:lnTo>
                <a:cubicBezTo>
                  <a:pt x="332904" y="753787"/>
                  <a:pt x="341257" y="761861"/>
                  <a:pt x="351442" y="761854"/>
                </a:cubicBezTo>
                <a:cubicBezTo>
                  <a:pt x="359456" y="762490"/>
                  <a:pt x="366805" y="757380"/>
                  <a:pt x="368999" y="749646"/>
                </a:cubicBezTo>
                <a:lnTo>
                  <a:pt x="383346" y="754114"/>
                </a:lnTo>
                <a:cubicBezTo>
                  <a:pt x="379121" y="767795"/>
                  <a:pt x="366189" y="776900"/>
                  <a:pt x="351883" y="776265"/>
                </a:cubicBezTo>
                <a:cubicBezTo>
                  <a:pt x="331318" y="775635"/>
                  <a:pt x="315158" y="758450"/>
                  <a:pt x="315788" y="737892"/>
                </a:cubicBezTo>
                <a:cubicBezTo>
                  <a:pt x="316371" y="718863"/>
                  <a:pt x="331204" y="703339"/>
                  <a:pt x="350184" y="701885"/>
                </a:cubicBezTo>
                <a:close/>
                <a:moveTo>
                  <a:pt x="1046721" y="701823"/>
                </a:moveTo>
                <a:cubicBezTo>
                  <a:pt x="1066424" y="701389"/>
                  <a:pt x="1082747" y="717007"/>
                  <a:pt x="1083181" y="736703"/>
                </a:cubicBezTo>
                <a:cubicBezTo>
                  <a:pt x="1083194" y="737477"/>
                  <a:pt x="1083187" y="738245"/>
                  <a:pt x="1083156" y="739013"/>
                </a:cubicBezTo>
                <a:cubicBezTo>
                  <a:pt x="1082703" y="759093"/>
                  <a:pt x="1066059" y="775007"/>
                  <a:pt x="1045973" y="774560"/>
                </a:cubicBezTo>
                <a:cubicBezTo>
                  <a:pt x="1025893" y="774107"/>
                  <a:pt x="1009978" y="757456"/>
                  <a:pt x="1010431" y="737377"/>
                </a:cubicBezTo>
                <a:cubicBezTo>
                  <a:pt x="1010872" y="717643"/>
                  <a:pt x="1026981" y="701861"/>
                  <a:pt x="1046721" y="701823"/>
                </a:cubicBezTo>
                <a:close/>
                <a:moveTo>
                  <a:pt x="552368" y="701823"/>
                </a:moveTo>
                <a:cubicBezTo>
                  <a:pt x="572068" y="701389"/>
                  <a:pt x="588391" y="717007"/>
                  <a:pt x="588827" y="736703"/>
                </a:cubicBezTo>
                <a:cubicBezTo>
                  <a:pt x="588843" y="737477"/>
                  <a:pt x="588835" y="738245"/>
                  <a:pt x="588803" y="739013"/>
                </a:cubicBezTo>
                <a:cubicBezTo>
                  <a:pt x="588351" y="759093"/>
                  <a:pt x="571705" y="775007"/>
                  <a:pt x="551622" y="774560"/>
                </a:cubicBezTo>
                <a:cubicBezTo>
                  <a:pt x="531540" y="774107"/>
                  <a:pt x="515626" y="757456"/>
                  <a:pt x="516077" y="737377"/>
                </a:cubicBezTo>
                <a:cubicBezTo>
                  <a:pt x="516522" y="717643"/>
                  <a:pt x="532627" y="701861"/>
                  <a:pt x="552368" y="701823"/>
                </a:cubicBezTo>
                <a:close/>
                <a:moveTo>
                  <a:pt x="1533649" y="701822"/>
                </a:moveTo>
                <a:cubicBezTo>
                  <a:pt x="1553219" y="701822"/>
                  <a:pt x="1559575" y="714407"/>
                  <a:pt x="1560707" y="721455"/>
                </a:cubicBezTo>
                <a:lnTo>
                  <a:pt x="1546612" y="725482"/>
                </a:lnTo>
                <a:cubicBezTo>
                  <a:pt x="1545825" y="719064"/>
                  <a:pt x="1540093" y="714420"/>
                  <a:pt x="1533649" y="714974"/>
                </a:cubicBezTo>
                <a:cubicBezTo>
                  <a:pt x="1528678" y="714388"/>
                  <a:pt x="1524178" y="717944"/>
                  <a:pt x="1523593" y="722915"/>
                </a:cubicBezTo>
                <a:cubicBezTo>
                  <a:pt x="1523587" y="722953"/>
                  <a:pt x="1523587" y="722991"/>
                  <a:pt x="1523581" y="723028"/>
                </a:cubicBezTo>
                <a:cubicBezTo>
                  <a:pt x="1523732" y="726898"/>
                  <a:pt x="1526765" y="730045"/>
                  <a:pt x="1530628" y="730328"/>
                </a:cubicBezTo>
                <a:lnTo>
                  <a:pt x="1541263" y="732530"/>
                </a:lnTo>
                <a:cubicBezTo>
                  <a:pt x="1554541" y="735362"/>
                  <a:pt x="1561400" y="743417"/>
                  <a:pt x="1561400" y="753800"/>
                </a:cubicBezTo>
                <a:cubicBezTo>
                  <a:pt x="1561400" y="764182"/>
                  <a:pt x="1552779" y="776264"/>
                  <a:pt x="1534970" y="776264"/>
                </a:cubicBezTo>
                <a:cubicBezTo>
                  <a:pt x="1514645" y="776264"/>
                  <a:pt x="1506905" y="762987"/>
                  <a:pt x="1506024" y="755121"/>
                </a:cubicBezTo>
                <a:lnTo>
                  <a:pt x="1520623" y="751094"/>
                </a:lnTo>
                <a:cubicBezTo>
                  <a:pt x="1521252" y="758292"/>
                  <a:pt x="1527602" y="763622"/>
                  <a:pt x="1534807" y="762993"/>
                </a:cubicBezTo>
                <a:cubicBezTo>
                  <a:pt x="1534819" y="762987"/>
                  <a:pt x="1534832" y="762987"/>
                  <a:pt x="1534845" y="762987"/>
                </a:cubicBezTo>
                <a:cubicBezTo>
                  <a:pt x="1541767" y="762987"/>
                  <a:pt x="1545353" y="759274"/>
                  <a:pt x="1545353" y="754932"/>
                </a:cubicBezTo>
                <a:cubicBezTo>
                  <a:pt x="1545353" y="750590"/>
                  <a:pt x="1542773" y="748640"/>
                  <a:pt x="1537173" y="747192"/>
                </a:cubicBezTo>
                <a:lnTo>
                  <a:pt x="1526790" y="744864"/>
                </a:lnTo>
                <a:cubicBezTo>
                  <a:pt x="1514205" y="742158"/>
                  <a:pt x="1507912" y="734103"/>
                  <a:pt x="1507912" y="724476"/>
                </a:cubicBezTo>
                <a:cubicBezTo>
                  <a:pt x="1508787" y="711123"/>
                  <a:pt x="1520296" y="700998"/>
                  <a:pt x="1533649" y="701822"/>
                </a:cubicBezTo>
                <a:close/>
                <a:moveTo>
                  <a:pt x="231818" y="701759"/>
                </a:moveTo>
                <a:cubicBezTo>
                  <a:pt x="253402" y="701759"/>
                  <a:pt x="261582" y="714344"/>
                  <a:pt x="261582" y="728000"/>
                </a:cubicBezTo>
                <a:lnTo>
                  <a:pt x="261582" y="762798"/>
                </a:lnTo>
                <a:cubicBezTo>
                  <a:pt x="261551" y="766574"/>
                  <a:pt x="261845" y="770337"/>
                  <a:pt x="262463" y="774062"/>
                </a:cubicBezTo>
                <a:lnTo>
                  <a:pt x="246920" y="774062"/>
                </a:lnTo>
                <a:cubicBezTo>
                  <a:pt x="246370" y="771117"/>
                  <a:pt x="246138" y="768122"/>
                  <a:pt x="246228" y="765126"/>
                </a:cubicBezTo>
                <a:cubicBezTo>
                  <a:pt x="241480" y="772357"/>
                  <a:pt x="233285" y="776560"/>
                  <a:pt x="224644" y="776201"/>
                </a:cubicBezTo>
                <a:cubicBezTo>
                  <a:pt x="212558" y="777215"/>
                  <a:pt x="201937" y="768241"/>
                  <a:pt x="200920" y="756159"/>
                </a:cubicBezTo>
                <a:cubicBezTo>
                  <a:pt x="200891" y="755813"/>
                  <a:pt x="200871" y="755467"/>
                  <a:pt x="200858" y="755121"/>
                </a:cubicBezTo>
                <a:cubicBezTo>
                  <a:pt x="200858" y="742536"/>
                  <a:pt x="210108" y="735677"/>
                  <a:pt x="222001" y="733978"/>
                </a:cubicBezTo>
                <a:lnTo>
                  <a:pt x="239999" y="731209"/>
                </a:lnTo>
                <a:cubicBezTo>
                  <a:pt x="244026" y="730642"/>
                  <a:pt x="245221" y="728629"/>
                  <a:pt x="245221" y="726175"/>
                </a:cubicBezTo>
                <a:cubicBezTo>
                  <a:pt x="245221" y="720260"/>
                  <a:pt x="241194" y="715540"/>
                  <a:pt x="231944" y="715540"/>
                </a:cubicBezTo>
                <a:cubicBezTo>
                  <a:pt x="224524" y="715037"/>
                  <a:pt x="218102" y="720650"/>
                  <a:pt x="217600" y="728069"/>
                </a:cubicBezTo>
                <a:cubicBezTo>
                  <a:pt x="217599" y="728088"/>
                  <a:pt x="217598" y="728106"/>
                  <a:pt x="217597" y="728125"/>
                </a:cubicBezTo>
                <a:lnTo>
                  <a:pt x="202305" y="724664"/>
                </a:lnTo>
                <a:cubicBezTo>
                  <a:pt x="203627" y="712582"/>
                  <a:pt x="214891" y="701759"/>
                  <a:pt x="231818" y="701759"/>
                </a:cubicBezTo>
                <a:close/>
                <a:moveTo>
                  <a:pt x="1580152" y="682567"/>
                </a:moveTo>
                <a:lnTo>
                  <a:pt x="1595255" y="682567"/>
                </a:lnTo>
                <a:lnTo>
                  <a:pt x="1595255" y="704025"/>
                </a:lnTo>
                <a:lnTo>
                  <a:pt x="1609791" y="704025"/>
                </a:lnTo>
                <a:lnTo>
                  <a:pt x="1609791" y="718876"/>
                </a:lnTo>
                <a:lnTo>
                  <a:pt x="1595255" y="718876"/>
                </a:lnTo>
                <a:lnTo>
                  <a:pt x="1595255" y="751346"/>
                </a:lnTo>
                <a:cubicBezTo>
                  <a:pt x="1595255" y="757639"/>
                  <a:pt x="1597961" y="760156"/>
                  <a:pt x="1604127" y="760156"/>
                </a:cubicBezTo>
                <a:cubicBezTo>
                  <a:pt x="1606072" y="760118"/>
                  <a:pt x="1608004" y="759929"/>
                  <a:pt x="1609917" y="759589"/>
                </a:cubicBezTo>
                <a:lnTo>
                  <a:pt x="1609917" y="773370"/>
                </a:lnTo>
                <a:cubicBezTo>
                  <a:pt x="1606657" y="774572"/>
                  <a:pt x="1603190" y="775107"/>
                  <a:pt x="1599722" y="774944"/>
                </a:cubicBezTo>
                <a:cubicBezTo>
                  <a:pt x="1589100" y="775919"/>
                  <a:pt x="1579693" y="768097"/>
                  <a:pt x="1578717" y="757469"/>
                </a:cubicBezTo>
                <a:cubicBezTo>
                  <a:pt x="1578617" y="756355"/>
                  <a:pt x="1578611" y="755229"/>
                  <a:pt x="1578705" y="754115"/>
                </a:cubicBezTo>
                <a:lnTo>
                  <a:pt x="1578705" y="718876"/>
                </a:lnTo>
                <a:lnTo>
                  <a:pt x="1565742" y="718876"/>
                </a:lnTo>
                <a:lnTo>
                  <a:pt x="1565742" y="704025"/>
                </a:lnTo>
                <a:lnTo>
                  <a:pt x="1569329" y="704025"/>
                </a:lnTo>
                <a:cubicBezTo>
                  <a:pt x="1574835" y="704503"/>
                  <a:pt x="1579687" y="700426"/>
                  <a:pt x="1580165" y="694926"/>
                </a:cubicBezTo>
                <a:cubicBezTo>
                  <a:pt x="1580215" y="694309"/>
                  <a:pt x="1580215" y="693692"/>
                  <a:pt x="1580152" y="693076"/>
                </a:cubicBezTo>
                <a:close/>
                <a:moveTo>
                  <a:pt x="1156277" y="682567"/>
                </a:moveTo>
                <a:lnTo>
                  <a:pt x="1171379" y="682567"/>
                </a:lnTo>
                <a:lnTo>
                  <a:pt x="1171505" y="704025"/>
                </a:lnTo>
                <a:lnTo>
                  <a:pt x="1186104" y="704025"/>
                </a:lnTo>
                <a:lnTo>
                  <a:pt x="1186104" y="718876"/>
                </a:lnTo>
                <a:lnTo>
                  <a:pt x="1171505" y="718876"/>
                </a:lnTo>
                <a:lnTo>
                  <a:pt x="1171505" y="751346"/>
                </a:lnTo>
                <a:cubicBezTo>
                  <a:pt x="1171505" y="757639"/>
                  <a:pt x="1174274" y="760156"/>
                  <a:pt x="1180440" y="760156"/>
                </a:cubicBezTo>
                <a:cubicBezTo>
                  <a:pt x="1182379" y="760112"/>
                  <a:pt x="1184317" y="759923"/>
                  <a:pt x="1186230" y="759589"/>
                </a:cubicBezTo>
                <a:lnTo>
                  <a:pt x="1186230" y="773370"/>
                </a:lnTo>
                <a:cubicBezTo>
                  <a:pt x="1182945" y="774566"/>
                  <a:pt x="1179465" y="775101"/>
                  <a:pt x="1175973" y="774944"/>
                </a:cubicBezTo>
                <a:cubicBezTo>
                  <a:pt x="1165382" y="775919"/>
                  <a:pt x="1156006" y="768129"/>
                  <a:pt x="1155030" y="757538"/>
                </a:cubicBezTo>
                <a:cubicBezTo>
                  <a:pt x="1154924" y="756399"/>
                  <a:pt x="1154917" y="755254"/>
                  <a:pt x="1155018" y="754115"/>
                </a:cubicBezTo>
                <a:lnTo>
                  <a:pt x="1155018" y="718876"/>
                </a:lnTo>
                <a:lnTo>
                  <a:pt x="1142055" y="718876"/>
                </a:lnTo>
                <a:lnTo>
                  <a:pt x="1142055" y="704025"/>
                </a:lnTo>
                <a:lnTo>
                  <a:pt x="1145516" y="704025"/>
                </a:lnTo>
                <a:cubicBezTo>
                  <a:pt x="1150984" y="704510"/>
                  <a:pt x="1155811" y="700463"/>
                  <a:pt x="1156295" y="694995"/>
                </a:cubicBezTo>
                <a:cubicBezTo>
                  <a:pt x="1156352" y="694353"/>
                  <a:pt x="1156346" y="693711"/>
                  <a:pt x="1156277" y="693076"/>
                </a:cubicBezTo>
                <a:close/>
                <a:moveTo>
                  <a:pt x="687157" y="682567"/>
                </a:moveTo>
                <a:lnTo>
                  <a:pt x="702260" y="682567"/>
                </a:lnTo>
                <a:lnTo>
                  <a:pt x="702260" y="704025"/>
                </a:lnTo>
                <a:lnTo>
                  <a:pt x="716796" y="704025"/>
                </a:lnTo>
                <a:lnTo>
                  <a:pt x="716796" y="718876"/>
                </a:lnTo>
                <a:lnTo>
                  <a:pt x="702260" y="718876"/>
                </a:lnTo>
                <a:lnTo>
                  <a:pt x="702260" y="751346"/>
                </a:lnTo>
                <a:cubicBezTo>
                  <a:pt x="702260" y="757639"/>
                  <a:pt x="704966" y="760156"/>
                  <a:pt x="711195" y="760156"/>
                </a:cubicBezTo>
                <a:cubicBezTo>
                  <a:pt x="713115" y="760112"/>
                  <a:pt x="715028" y="759917"/>
                  <a:pt x="716922" y="759589"/>
                </a:cubicBezTo>
                <a:lnTo>
                  <a:pt x="716922" y="773370"/>
                </a:lnTo>
                <a:cubicBezTo>
                  <a:pt x="713662" y="774572"/>
                  <a:pt x="710195" y="775107"/>
                  <a:pt x="706727" y="774944"/>
                </a:cubicBezTo>
                <a:cubicBezTo>
                  <a:pt x="696105" y="775919"/>
                  <a:pt x="686698" y="768097"/>
                  <a:pt x="685722" y="757469"/>
                </a:cubicBezTo>
                <a:cubicBezTo>
                  <a:pt x="685622" y="756355"/>
                  <a:pt x="685616" y="755229"/>
                  <a:pt x="685710" y="754115"/>
                </a:cubicBezTo>
                <a:lnTo>
                  <a:pt x="685710" y="718876"/>
                </a:lnTo>
                <a:lnTo>
                  <a:pt x="672747" y="718876"/>
                </a:lnTo>
                <a:lnTo>
                  <a:pt x="672747" y="704025"/>
                </a:lnTo>
                <a:lnTo>
                  <a:pt x="676334" y="704025"/>
                </a:lnTo>
                <a:cubicBezTo>
                  <a:pt x="681840" y="704503"/>
                  <a:pt x="686692" y="700426"/>
                  <a:pt x="687170" y="694926"/>
                </a:cubicBezTo>
                <a:cubicBezTo>
                  <a:pt x="687220" y="694309"/>
                  <a:pt x="687220" y="693692"/>
                  <a:pt x="687157" y="693076"/>
                </a:cubicBezTo>
                <a:close/>
                <a:moveTo>
                  <a:pt x="282034" y="682567"/>
                </a:moveTo>
                <a:lnTo>
                  <a:pt x="297200" y="682567"/>
                </a:lnTo>
                <a:lnTo>
                  <a:pt x="297200" y="704025"/>
                </a:lnTo>
                <a:lnTo>
                  <a:pt x="311736" y="704025"/>
                </a:lnTo>
                <a:lnTo>
                  <a:pt x="311736" y="718876"/>
                </a:lnTo>
                <a:lnTo>
                  <a:pt x="297200" y="718876"/>
                </a:lnTo>
                <a:lnTo>
                  <a:pt x="297200" y="751346"/>
                </a:lnTo>
                <a:cubicBezTo>
                  <a:pt x="297200" y="757639"/>
                  <a:pt x="299906" y="760156"/>
                  <a:pt x="306072" y="760156"/>
                </a:cubicBezTo>
                <a:cubicBezTo>
                  <a:pt x="308014" y="760112"/>
                  <a:pt x="309949" y="759923"/>
                  <a:pt x="311862" y="759589"/>
                </a:cubicBezTo>
                <a:lnTo>
                  <a:pt x="311862" y="773370"/>
                </a:lnTo>
                <a:cubicBezTo>
                  <a:pt x="308603" y="774572"/>
                  <a:pt x="305137" y="775107"/>
                  <a:pt x="301668" y="774944"/>
                </a:cubicBezTo>
                <a:cubicBezTo>
                  <a:pt x="291043" y="775919"/>
                  <a:pt x="281640" y="768097"/>
                  <a:pt x="280665" y="757469"/>
                </a:cubicBezTo>
                <a:cubicBezTo>
                  <a:pt x="280562" y="756355"/>
                  <a:pt x="280557" y="755229"/>
                  <a:pt x="280650" y="754115"/>
                </a:cubicBezTo>
                <a:lnTo>
                  <a:pt x="280650" y="718876"/>
                </a:lnTo>
                <a:lnTo>
                  <a:pt x="267687" y="718876"/>
                </a:lnTo>
                <a:lnTo>
                  <a:pt x="267687" y="704025"/>
                </a:lnTo>
                <a:lnTo>
                  <a:pt x="271274" y="704025"/>
                </a:lnTo>
                <a:cubicBezTo>
                  <a:pt x="276743" y="704510"/>
                  <a:pt x="281569" y="700463"/>
                  <a:pt x="282051" y="694995"/>
                </a:cubicBezTo>
                <a:cubicBezTo>
                  <a:pt x="282107" y="694353"/>
                  <a:pt x="282102" y="693711"/>
                  <a:pt x="282034" y="693076"/>
                </a:cubicBezTo>
                <a:close/>
                <a:moveTo>
                  <a:pt x="1295031" y="672058"/>
                </a:moveTo>
                <a:lnTo>
                  <a:pt x="1313154" y="672058"/>
                </a:lnTo>
                <a:lnTo>
                  <a:pt x="1333605" y="746626"/>
                </a:lnTo>
                <a:lnTo>
                  <a:pt x="1357517" y="672058"/>
                </a:lnTo>
                <a:lnTo>
                  <a:pt x="1375515" y="672058"/>
                </a:lnTo>
                <a:lnTo>
                  <a:pt x="1399804" y="747193"/>
                </a:lnTo>
                <a:lnTo>
                  <a:pt x="1419815" y="672058"/>
                </a:lnTo>
                <a:lnTo>
                  <a:pt x="1437686" y="672058"/>
                </a:lnTo>
                <a:lnTo>
                  <a:pt x="1408992" y="774125"/>
                </a:lnTo>
                <a:lnTo>
                  <a:pt x="1391183" y="774125"/>
                </a:lnTo>
                <a:lnTo>
                  <a:pt x="1366390" y="696977"/>
                </a:lnTo>
                <a:lnTo>
                  <a:pt x="1341660" y="774125"/>
                </a:lnTo>
                <a:lnTo>
                  <a:pt x="1323977" y="774125"/>
                </a:lnTo>
                <a:close/>
                <a:moveTo>
                  <a:pt x="912310" y="672058"/>
                </a:moveTo>
                <a:lnTo>
                  <a:pt x="934334" y="672058"/>
                </a:lnTo>
                <a:lnTo>
                  <a:pt x="980649" y="744487"/>
                </a:lnTo>
                <a:lnTo>
                  <a:pt x="980649" y="672058"/>
                </a:lnTo>
                <a:lnTo>
                  <a:pt x="997890" y="672058"/>
                </a:lnTo>
                <a:lnTo>
                  <a:pt x="997890" y="774125"/>
                </a:lnTo>
                <a:lnTo>
                  <a:pt x="979956" y="774125"/>
                </a:lnTo>
                <a:lnTo>
                  <a:pt x="929552" y="696788"/>
                </a:lnTo>
                <a:lnTo>
                  <a:pt x="929552" y="774125"/>
                </a:lnTo>
                <a:lnTo>
                  <a:pt x="912310" y="774125"/>
                </a:lnTo>
                <a:close/>
                <a:moveTo>
                  <a:pt x="59839" y="672058"/>
                </a:moveTo>
                <a:lnTo>
                  <a:pt x="77962" y="672058"/>
                </a:lnTo>
                <a:lnTo>
                  <a:pt x="98413" y="746626"/>
                </a:lnTo>
                <a:lnTo>
                  <a:pt x="122325" y="672058"/>
                </a:lnTo>
                <a:lnTo>
                  <a:pt x="140322" y="672058"/>
                </a:lnTo>
                <a:lnTo>
                  <a:pt x="164612" y="747193"/>
                </a:lnTo>
                <a:lnTo>
                  <a:pt x="184623" y="672058"/>
                </a:lnTo>
                <a:lnTo>
                  <a:pt x="202431" y="672058"/>
                </a:lnTo>
                <a:lnTo>
                  <a:pt x="173862" y="774125"/>
                </a:lnTo>
                <a:lnTo>
                  <a:pt x="155991" y="774125"/>
                </a:lnTo>
                <a:lnTo>
                  <a:pt x="131261" y="696977"/>
                </a:lnTo>
                <a:lnTo>
                  <a:pt x="106468" y="774125"/>
                </a:lnTo>
                <a:lnTo>
                  <a:pt x="88785" y="774125"/>
                </a:lnTo>
                <a:close/>
                <a:moveTo>
                  <a:pt x="1197179" y="669919"/>
                </a:moveTo>
                <a:lnTo>
                  <a:pt x="1213855" y="669919"/>
                </a:lnTo>
                <a:lnTo>
                  <a:pt x="1213855" y="711073"/>
                </a:lnTo>
                <a:cubicBezTo>
                  <a:pt x="1218845" y="705265"/>
                  <a:pt x="1226213" y="702043"/>
                  <a:pt x="1233865" y="702326"/>
                </a:cubicBezTo>
                <a:cubicBezTo>
                  <a:pt x="1251107" y="702326"/>
                  <a:pt x="1259477" y="714912"/>
                  <a:pt x="1259477" y="730077"/>
                </a:cubicBezTo>
                <a:lnTo>
                  <a:pt x="1259477" y="774126"/>
                </a:lnTo>
                <a:lnTo>
                  <a:pt x="1242801" y="774126"/>
                </a:lnTo>
                <a:lnTo>
                  <a:pt x="1242801" y="732657"/>
                </a:lnTo>
                <a:cubicBezTo>
                  <a:pt x="1242801" y="724036"/>
                  <a:pt x="1238899" y="717114"/>
                  <a:pt x="1228391" y="717114"/>
                </a:cubicBezTo>
                <a:cubicBezTo>
                  <a:pt x="1220330" y="717120"/>
                  <a:pt x="1213798" y="723659"/>
                  <a:pt x="1213798" y="731719"/>
                </a:cubicBezTo>
                <a:cubicBezTo>
                  <a:pt x="1213798" y="732141"/>
                  <a:pt x="1213817" y="732556"/>
                  <a:pt x="1213855" y="732972"/>
                </a:cubicBezTo>
                <a:lnTo>
                  <a:pt x="1213855" y="774000"/>
                </a:lnTo>
                <a:lnTo>
                  <a:pt x="1197179" y="774000"/>
                </a:lnTo>
                <a:close/>
                <a:moveTo>
                  <a:pt x="727430" y="669919"/>
                </a:moveTo>
                <a:lnTo>
                  <a:pt x="744106" y="669919"/>
                </a:lnTo>
                <a:lnTo>
                  <a:pt x="744106" y="711073"/>
                </a:lnTo>
                <a:cubicBezTo>
                  <a:pt x="749096" y="705265"/>
                  <a:pt x="756464" y="702043"/>
                  <a:pt x="764116" y="702326"/>
                </a:cubicBezTo>
                <a:cubicBezTo>
                  <a:pt x="781421" y="702326"/>
                  <a:pt x="789728" y="714912"/>
                  <a:pt x="789728" y="730077"/>
                </a:cubicBezTo>
                <a:lnTo>
                  <a:pt x="789728" y="774126"/>
                </a:lnTo>
                <a:lnTo>
                  <a:pt x="773052" y="774126"/>
                </a:lnTo>
                <a:lnTo>
                  <a:pt x="773052" y="732657"/>
                </a:lnTo>
                <a:cubicBezTo>
                  <a:pt x="773052" y="724036"/>
                  <a:pt x="769151" y="717114"/>
                  <a:pt x="758642" y="717114"/>
                </a:cubicBezTo>
                <a:cubicBezTo>
                  <a:pt x="750581" y="717120"/>
                  <a:pt x="744049" y="723659"/>
                  <a:pt x="744049" y="731719"/>
                </a:cubicBezTo>
                <a:cubicBezTo>
                  <a:pt x="744049" y="732141"/>
                  <a:pt x="744068" y="732556"/>
                  <a:pt x="744106" y="732972"/>
                </a:cubicBezTo>
                <a:lnTo>
                  <a:pt x="744106" y="774000"/>
                </a:lnTo>
                <a:lnTo>
                  <a:pt x="727430" y="774000"/>
                </a:lnTo>
                <a:close/>
                <a:moveTo>
                  <a:pt x="505046" y="669101"/>
                </a:moveTo>
                <a:cubicBezTo>
                  <a:pt x="508047" y="669038"/>
                  <a:pt x="511034" y="669529"/>
                  <a:pt x="513856" y="670548"/>
                </a:cubicBezTo>
                <a:lnTo>
                  <a:pt x="513856" y="684833"/>
                </a:lnTo>
                <a:cubicBezTo>
                  <a:pt x="511812" y="684247"/>
                  <a:pt x="509688" y="683996"/>
                  <a:pt x="507563" y="684077"/>
                </a:cubicBezTo>
                <a:cubicBezTo>
                  <a:pt x="502295" y="683694"/>
                  <a:pt x="497711" y="687652"/>
                  <a:pt x="497325" y="692919"/>
                </a:cubicBezTo>
                <a:cubicBezTo>
                  <a:pt x="497279" y="693535"/>
                  <a:pt x="497294" y="694158"/>
                  <a:pt x="497369" y="694775"/>
                </a:cubicBezTo>
                <a:lnTo>
                  <a:pt x="497369" y="704025"/>
                </a:lnTo>
                <a:lnTo>
                  <a:pt x="513604" y="704025"/>
                </a:lnTo>
                <a:lnTo>
                  <a:pt x="513604" y="718561"/>
                </a:lnTo>
                <a:lnTo>
                  <a:pt x="497369" y="718561"/>
                </a:lnTo>
                <a:lnTo>
                  <a:pt x="497369" y="774000"/>
                </a:lnTo>
                <a:lnTo>
                  <a:pt x="480568" y="774000"/>
                </a:lnTo>
                <a:lnTo>
                  <a:pt x="480568" y="718435"/>
                </a:lnTo>
                <a:lnTo>
                  <a:pt x="468360" y="718435"/>
                </a:lnTo>
                <a:lnTo>
                  <a:pt x="468360" y="703899"/>
                </a:lnTo>
                <a:lnTo>
                  <a:pt x="480568" y="703899"/>
                </a:lnTo>
                <a:lnTo>
                  <a:pt x="480568" y="694272"/>
                </a:lnTo>
                <a:cubicBezTo>
                  <a:pt x="479543" y="681422"/>
                  <a:pt x="489131" y="670171"/>
                  <a:pt x="501984" y="669145"/>
                </a:cubicBezTo>
                <a:cubicBezTo>
                  <a:pt x="503003" y="669063"/>
                  <a:pt x="504026" y="669050"/>
                  <a:pt x="505046" y="669101"/>
                </a:cubicBezTo>
                <a:close/>
                <a:moveTo>
                  <a:pt x="1286410" y="499450"/>
                </a:moveTo>
                <a:lnTo>
                  <a:pt x="1286725" y="499450"/>
                </a:lnTo>
                <a:lnTo>
                  <a:pt x="1286444" y="499525"/>
                </a:lnTo>
                <a:close/>
                <a:moveTo>
                  <a:pt x="965672" y="499450"/>
                </a:moveTo>
                <a:lnTo>
                  <a:pt x="965735" y="499450"/>
                </a:lnTo>
                <a:lnTo>
                  <a:pt x="965679" y="499465"/>
                </a:lnTo>
                <a:close/>
                <a:moveTo>
                  <a:pt x="1502752" y="407262"/>
                </a:moveTo>
                <a:lnTo>
                  <a:pt x="1502815" y="407388"/>
                </a:lnTo>
                <a:lnTo>
                  <a:pt x="1502750" y="407267"/>
                </a:lnTo>
                <a:close/>
                <a:moveTo>
                  <a:pt x="1459836" y="399711"/>
                </a:moveTo>
                <a:cubicBezTo>
                  <a:pt x="1442154" y="399711"/>
                  <a:pt x="1428058" y="418652"/>
                  <a:pt x="1420192" y="448290"/>
                </a:cubicBezTo>
                <a:cubicBezTo>
                  <a:pt x="1447188" y="444200"/>
                  <a:pt x="1472358" y="429098"/>
                  <a:pt x="1472358" y="412359"/>
                </a:cubicBezTo>
                <a:cubicBezTo>
                  <a:pt x="1472434" y="411611"/>
                  <a:pt x="1472434" y="410858"/>
                  <a:pt x="1472358" y="410110"/>
                </a:cubicBezTo>
                <a:cubicBezTo>
                  <a:pt x="1471735" y="403780"/>
                  <a:pt x="1466103" y="399153"/>
                  <a:pt x="1459773" y="399774"/>
                </a:cubicBezTo>
                <a:close/>
                <a:moveTo>
                  <a:pt x="1335367" y="382595"/>
                </a:moveTo>
                <a:lnTo>
                  <a:pt x="1368277" y="382595"/>
                </a:lnTo>
                <a:lnTo>
                  <a:pt x="1342729" y="519209"/>
                </a:lnTo>
                <a:lnTo>
                  <a:pt x="1310070" y="519209"/>
                </a:lnTo>
                <a:close/>
                <a:moveTo>
                  <a:pt x="1170246" y="382595"/>
                </a:moveTo>
                <a:lnTo>
                  <a:pt x="1203031" y="382595"/>
                </a:lnTo>
                <a:lnTo>
                  <a:pt x="1177609" y="519209"/>
                </a:lnTo>
                <a:lnTo>
                  <a:pt x="1144824" y="519209"/>
                </a:lnTo>
                <a:close/>
                <a:moveTo>
                  <a:pt x="1014377" y="382595"/>
                </a:moveTo>
                <a:lnTo>
                  <a:pt x="1046910" y="382595"/>
                </a:lnTo>
                <a:lnTo>
                  <a:pt x="1021614" y="519209"/>
                </a:lnTo>
                <a:lnTo>
                  <a:pt x="988829" y="519209"/>
                </a:lnTo>
                <a:close/>
                <a:moveTo>
                  <a:pt x="1567567" y="379071"/>
                </a:moveTo>
                <a:cubicBezTo>
                  <a:pt x="1584488" y="378716"/>
                  <a:pt x="1601006" y="384230"/>
                  <a:pt x="1614322" y="394677"/>
                </a:cubicBezTo>
                <a:lnTo>
                  <a:pt x="1614196" y="394677"/>
                </a:lnTo>
                <a:lnTo>
                  <a:pt x="1608344" y="407262"/>
                </a:lnTo>
                <a:cubicBezTo>
                  <a:pt x="1574678" y="387503"/>
                  <a:pt x="1559072" y="401851"/>
                  <a:pt x="1559072" y="413555"/>
                </a:cubicBezTo>
                <a:cubicBezTo>
                  <a:pt x="1559072" y="437656"/>
                  <a:pt x="1606330" y="441243"/>
                  <a:pt x="1606330" y="479691"/>
                </a:cubicBezTo>
                <a:cubicBezTo>
                  <a:pt x="1606330" y="498947"/>
                  <a:pt x="1590283" y="522356"/>
                  <a:pt x="1551017" y="522356"/>
                </a:cubicBezTo>
                <a:cubicBezTo>
                  <a:pt x="1533637" y="521436"/>
                  <a:pt x="1517043" y="514799"/>
                  <a:pt x="1503822" y="503478"/>
                </a:cubicBezTo>
                <a:lnTo>
                  <a:pt x="1509485" y="490892"/>
                </a:lnTo>
                <a:cubicBezTo>
                  <a:pt x="1535915" y="510211"/>
                  <a:pt x="1568070" y="502597"/>
                  <a:pt x="1568070" y="484599"/>
                </a:cubicBezTo>
                <a:cubicBezTo>
                  <a:pt x="1568070" y="461694"/>
                  <a:pt x="1520812" y="453577"/>
                  <a:pt x="1520812" y="423120"/>
                </a:cubicBezTo>
                <a:cubicBezTo>
                  <a:pt x="1520812" y="391657"/>
                  <a:pt x="1552276" y="379071"/>
                  <a:pt x="1567567" y="379071"/>
                </a:cubicBezTo>
                <a:close/>
                <a:moveTo>
                  <a:pt x="1468205" y="379008"/>
                </a:moveTo>
                <a:cubicBezTo>
                  <a:pt x="1475851" y="379008"/>
                  <a:pt x="1484504" y="381163"/>
                  <a:pt x="1491245" y="385788"/>
                </a:cubicBezTo>
                <a:lnTo>
                  <a:pt x="1502750" y="407267"/>
                </a:lnTo>
                <a:lnTo>
                  <a:pt x="1493769" y="432420"/>
                </a:lnTo>
                <a:cubicBezTo>
                  <a:pt x="1477039" y="453313"/>
                  <a:pt x="1440769" y="461914"/>
                  <a:pt x="1418304" y="462764"/>
                </a:cubicBezTo>
                <a:cubicBezTo>
                  <a:pt x="1417234" y="474783"/>
                  <a:pt x="1417486" y="494101"/>
                  <a:pt x="1440706" y="499513"/>
                </a:cubicBezTo>
                <a:cubicBezTo>
                  <a:pt x="1454317" y="501681"/>
                  <a:pt x="1468243" y="498648"/>
                  <a:pt x="1479721" y="491018"/>
                </a:cubicBezTo>
                <a:lnTo>
                  <a:pt x="1485447" y="503603"/>
                </a:lnTo>
                <a:cubicBezTo>
                  <a:pt x="1468407" y="516263"/>
                  <a:pt x="1447647" y="522903"/>
                  <a:pt x="1426422" y="522481"/>
                </a:cubicBezTo>
                <a:cubicBezTo>
                  <a:pt x="1401251" y="522481"/>
                  <a:pt x="1382373" y="504673"/>
                  <a:pt x="1382373" y="471762"/>
                </a:cubicBezTo>
                <a:cubicBezTo>
                  <a:pt x="1382373" y="433629"/>
                  <a:pt x="1414466" y="379008"/>
                  <a:pt x="1468205" y="379008"/>
                </a:cubicBezTo>
                <a:close/>
                <a:moveTo>
                  <a:pt x="1096749" y="341063"/>
                </a:moveTo>
                <a:lnTo>
                  <a:pt x="1129470" y="341063"/>
                </a:lnTo>
                <a:lnTo>
                  <a:pt x="1105684" y="469245"/>
                </a:lnTo>
                <a:cubicBezTo>
                  <a:pt x="1098196" y="503414"/>
                  <a:pt x="1111410" y="505743"/>
                  <a:pt x="1124562" y="502093"/>
                </a:cubicBezTo>
                <a:lnTo>
                  <a:pt x="1130163" y="514678"/>
                </a:lnTo>
                <a:cubicBezTo>
                  <a:pt x="1121649" y="519469"/>
                  <a:pt x="1112115" y="522165"/>
                  <a:pt x="1102349" y="522544"/>
                </a:cubicBezTo>
                <a:cubicBezTo>
                  <a:pt x="1078185" y="522544"/>
                  <a:pt x="1065033" y="510273"/>
                  <a:pt x="1071892" y="473650"/>
                </a:cubicBezTo>
                <a:close/>
                <a:moveTo>
                  <a:pt x="736492" y="341063"/>
                </a:moveTo>
                <a:lnTo>
                  <a:pt x="778150" y="341063"/>
                </a:lnTo>
                <a:lnTo>
                  <a:pt x="759272" y="444515"/>
                </a:lnTo>
                <a:cubicBezTo>
                  <a:pt x="754301" y="469937"/>
                  <a:pt x="760971" y="494038"/>
                  <a:pt x="785764" y="494038"/>
                </a:cubicBezTo>
                <a:cubicBezTo>
                  <a:pt x="809110" y="494038"/>
                  <a:pt x="822891" y="476104"/>
                  <a:pt x="829184" y="444641"/>
                </a:cubicBezTo>
                <a:lnTo>
                  <a:pt x="848062" y="341063"/>
                </a:lnTo>
                <a:lnTo>
                  <a:pt x="889467" y="341063"/>
                </a:lnTo>
                <a:lnTo>
                  <a:pt x="873673" y="426203"/>
                </a:lnTo>
                <a:cubicBezTo>
                  <a:pt x="861528" y="493661"/>
                  <a:pt x="834910" y="522544"/>
                  <a:pt x="779283" y="522544"/>
                </a:cubicBezTo>
                <a:cubicBezTo>
                  <a:pt x="723655" y="522544"/>
                  <a:pt x="710629" y="479880"/>
                  <a:pt x="720761" y="425951"/>
                </a:cubicBezTo>
                <a:close/>
                <a:moveTo>
                  <a:pt x="1249724" y="340811"/>
                </a:moveTo>
                <a:lnTo>
                  <a:pt x="1282446" y="340811"/>
                </a:lnTo>
                <a:lnTo>
                  <a:pt x="1274706" y="382343"/>
                </a:lnTo>
                <a:lnTo>
                  <a:pt x="1307365" y="382343"/>
                </a:lnTo>
                <a:lnTo>
                  <a:pt x="1304155" y="401221"/>
                </a:lnTo>
                <a:lnTo>
                  <a:pt x="1271371" y="401221"/>
                </a:lnTo>
                <a:lnTo>
                  <a:pt x="1258785" y="469245"/>
                </a:lnTo>
                <a:cubicBezTo>
                  <a:pt x="1253452" y="498695"/>
                  <a:pt x="1263198" y="504075"/>
                  <a:pt x="1274882" y="502588"/>
                </a:cubicBezTo>
                <a:lnTo>
                  <a:pt x="1286444" y="499525"/>
                </a:lnTo>
                <a:lnTo>
                  <a:pt x="1292136" y="512035"/>
                </a:lnTo>
                <a:cubicBezTo>
                  <a:pt x="1281017" y="518666"/>
                  <a:pt x="1268331" y="522206"/>
                  <a:pt x="1255387" y="522292"/>
                </a:cubicBezTo>
                <a:cubicBezTo>
                  <a:pt x="1231475" y="522292"/>
                  <a:pt x="1218009" y="509707"/>
                  <a:pt x="1224930" y="473461"/>
                </a:cubicBezTo>
                <a:close/>
                <a:moveTo>
                  <a:pt x="928797" y="340811"/>
                </a:moveTo>
                <a:lnTo>
                  <a:pt x="961519" y="340811"/>
                </a:lnTo>
                <a:lnTo>
                  <a:pt x="953967" y="382343"/>
                </a:lnTo>
                <a:lnTo>
                  <a:pt x="986626" y="382343"/>
                </a:lnTo>
                <a:lnTo>
                  <a:pt x="983291" y="401221"/>
                </a:lnTo>
                <a:lnTo>
                  <a:pt x="950443" y="401221"/>
                </a:lnTo>
                <a:lnTo>
                  <a:pt x="937858" y="469245"/>
                </a:lnTo>
                <a:cubicBezTo>
                  <a:pt x="932478" y="498695"/>
                  <a:pt x="941999" y="504075"/>
                  <a:pt x="953734" y="502588"/>
                </a:cubicBezTo>
                <a:lnTo>
                  <a:pt x="965679" y="499465"/>
                </a:lnTo>
                <a:lnTo>
                  <a:pt x="971398" y="512035"/>
                </a:lnTo>
                <a:cubicBezTo>
                  <a:pt x="960285" y="518674"/>
                  <a:pt x="947593" y="522216"/>
                  <a:pt x="934649" y="522292"/>
                </a:cubicBezTo>
                <a:cubicBezTo>
                  <a:pt x="910611" y="522292"/>
                  <a:pt x="897459" y="509707"/>
                  <a:pt x="904255" y="473461"/>
                </a:cubicBezTo>
                <a:close/>
                <a:moveTo>
                  <a:pt x="1358839" y="327219"/>
                </a:moveTo>
                <a:cubicBezTo>
                  <a:pt x="1368712" y="327289"/>
                  <a:pt x="1376653" y="335346"/>
                  <a:pt x="1376584" y="345217"/>
                </a:cubicBezTo>
                <a:cubicBezTo>
                  <a:pt x="1376515" y="355086"/>
                  <a:pt x="1368460" y="363030"/>
                  <a:pt x="1358587" y="362961"/>
                </a:cubicBezTo>
                <a:cubicBezTo>
                  <a:pt x="1348720" y="362892"/>
                  <a:pt x="1340772" y="354835"/>
                  <a:pt x="1340841" y="344965"/>
                </a:cubicBezTo>
                <a:cubicBezTo>
                  <a:pt x="1340911" y="335095"/>
                  <a:pt x="1348972" y="327150"/>
                  <a:pt x="1358839" y="327219"/>
                </a:cubicBezTo>
                <a:close/>
                <a:moveTo>
                  <a:pt x="1193656" y="327219"/>
                </a:moveTo>
                <a:cubicBezTo>
                  <a:pt x="1203510" y="327323"/>
                  <a:pt x="1211439" y="335360"/>
                  <a:pt x="1211401" y="345217"/>
                </a:cubicBezTo>
                <a:cubicBezTo>
                  <a:pt x="1211332" y="355086"/>
                  <a:pt x="1203277" y="363030"/>
                  <a:pt x="1193404" y="362961"/>
                </a:cubicBezTo>
                <a:cubicBezTo>
                  <a:pt x="1183537" y="362892"/>
                  <a:pt x="1175589" y="354835"/>
                  <a:pt x="1175658" y="344965"/>
                </a:cubicBezTo>
                <a:cubicBezTo>
                  <a:pt x="1175728" y="335095"/>
                  <a:pt x="1183789" y="327150"/>
                  <a:pt x="1193656" y="327219"/>
                </a:cubicBezTo>
                <a:close/>
                <a:moveTo>
                  <a:pt x="1037471" y="327219"/>
                </a:moveTo>
                <a:cubicBezTo>
                  <a:pt x="1046507" y="327756"/>
                  <a:pt x="1053712" y="334963"/>
                  <a:pt x="1054253" y="343998"/>
                </a:cubicBezTo>
                <a:cubicBezTo>
                  <a:pt x="1054838" y="353852"/>
                  <a:pt x="1047325" y="362313"/>
                  <a:pt x="1037471" y="362899"/>
                </a:cubicBezTo>
                <a:cubicBezTo>
                  <a:pt x="1028434" y="362362"/>
                  <a:pt x="1021229" y="355154"/>
                  <a:pt x="1020688" y="346118"/>
                </a:cubicBezTo>
                <a:cubicBezTo>
                  <a:pt x="1020103" y="336266"/>
                  <a:pt x="1027616" y="327804"/>
                  <a:pt x="1037471" y="327219"/>
                </a:cubicBezTo>
                <a:close/>
                <a:moveTo>
                  <a:pt x="1418745" y="108611"/>
                </a:moveTo>
                <a:lnTo>
                  <a:pt x="1418810" y="108628"/>
                </a:lnTo>
                <a:lnTo>
                  <a:pt x="1402891" y="112986"/>
                </a:lnTo>
                <a:cubicBezTo>
                  <a:pt x="1387880" y="121570"/>
                  <a:pt x="1375939" y="142277"/>
                  <a:pt x="1368529" y="170594"/>
                </a:cubicBezTo>
                <a:cubicBezTo>
                  <a:pt x="1403139" y="165182"/>
                  <a:pt x="1434980" y="146115"/>
                  <a:pt x="1434980" y="124469"/>
                </a:cubicBezTo>
                <a:cubicBezTo>
                  <a:pt x="1435118" y="123262"/>
                  <a:pt x="1435106" y="122041"/>
                  <a:pt x="1434936" y="120838"/>
                </a:cubicBezTo>
                <a:cubicBezTo>
                  <a:pt x="1434389" y="116914"/>
                  <a:pt x="1432303" y="113584"/>
                  <a:pt x="1429373" y="111371"/>
                </a:cubicBezTo>
                <a:lnTo>
                  <a:pt x="1418810" y="108628"/>
                </a:lnTo>
                <a:lnTo>
                  <a:pt x="1418871" y="108611"/>
                </a:lnTo>
                <a:close/>
                <a:moveTo>
                  <a:pt x="1580845" y="106786"/>
                </a:moveTo>
                <a:cubicBezTo>
                  <a:pt x="1555548" y="106786"/>
                  <a:pt x="1525406" y="152345"/>
                  <a:pt x="1525406" y="199981"/>
                </a:cubicBezTo>
                <a:cubicBezTo>
                  <a:pt x="1525406" y="224963"/>
                  <a:pt x="1533902" y="241198"/>
                  <a:pt x="1549067" y="241198"/>
                </a:cubicBezTo>
                <a:cubicBezTo>
                  <a:pt x="1573420" y="241198"/>
                  <a:pt x="1593997" y="216531"/>
                  <a:pt x="1611176" y="123336"/>
                </a:cubicBezTo>
                <a:cubicBezTo>
                  <a:pt x="1605147" y="112409"/>
                  <a:pt x="1593286" y="106014"/>
                  <a:pt x="1580845" y="106975"/>
                </a:cubicBezTo>
                <a:close/>
                <a:moveTo>
                  <a:pt x="1148097" y="86083"/>
                </a:moveTo>
                <a:lnTo>
                  <a:pt x="1189754" y="86083"/>
                </a:lnTo>
                <a:lnTo>
                  <a:pt x="1157473" y="260579"/>
                </a:lnTo>
                <a:lnTo>
                  <a:pt x="1115815" y="260579"/>
                </a:lnTo>
                <a:close/>
                <a:moveTo>
                  <a:pt x="1429631" y="81930"/>
                </a:moveTo>
                <a:cubicBezTo>
                  <a:pt x="1449139" y="81930"/>
                  <a:pt x="1473680" y="93131"/>
                  <a:pt x="1473680" y="118302"/>
                </a:cubicBezTo>
                <a:lnTo>
                  <a:pt x="1473491" y="118302"/>
                </a:lnTo>
                <a:cubicBezTo>
                  <a:pt x="1473491" y="168391"/>
                  <a:pt x="1404272" y="187395"/>
                  <a:pt x="1365823" y="188906"/>
                </a:cubicBezTo>
                <a:cubicBezTo>
                  <a:pt x="1364502" y="204323"/>
                  <a:pt x="1365068" y="228612"/>
                  <a:pt x="1394581" y="235786"/>
                </a:cubicBezTo>
                <a:cubicBezTo>
                  <a:pt x="1411886" y="238317"/>
                  <a:pt x="1429518" y="234446"/>
                  <a:pt x="1444167" y="224900"/>
                </a:cubicBezTo>
                <a:lnTo>
                  <a:pt x="1451593" y="240569"/>
                </a:lnTo>
                <a:cubicBezTo>
                  <a:pt x="1429940" y="256700"/>
                  <a:pt x="1403517" y="265138"/>
                  <a:pt x="1376521" y="264544"/>
                </a:cubicBezTo>
                <a:cubicBezTo>
                  <a:pt x="1343988" y="264544"/>
                  <a:pt x="1320516" y="242142"/>
                  <a:pt x="1320516" y="200295"/>
                </a:cubicBezTo>
                <a:cubicBezTo>
                  <a:pt x="1320516" y="151527"/>
                  <a:pt x="1361104" y="81930"/>
                  <a:pt x="1429631" y="81930"/>
                </a:cubicBezTo>
                <a:close/>
                <a:moveTo>
                  <a:pt x="1030800" y="81553"/>
                </a:moveTo>
                <a:cubicBezTo>
                  <a:pt x="1086365" y="81553"/>
                  <a:pt x="1099391" y="124217"/>
                  <a:pt x="1089259" y="178460"/>
                </a:cubicBezTo>
                <a:lnTo>
                  <a:pt x="1074094" y="260265"/>
                </a:lnTo>
                <a:lnTo>
                  <a:pt x="1032562" y="260265"/>
                </a:lnTo>
                <a:lnTo>
                  <a:pt x="1051000" y="159582"/>
                </a:lnTo>
                <a:cubicBezTo>
                  <a:pt x="1055908" y="134160"/>
                  <a:pt x="1049615" y="110122"/>
                  <a:pt x="1024445" y="110122"/>
                </a:cubicBezTo>
                <a:cubicBezTo>
                  <a:pt x="1000784" y="110122"/>
                  <a:pt x="987318" y="127993"/>
                  <a:pt x="981025" y="159456"/>
                </a:cubicBezTo>
                <a:lnTo>
                  <a:pt x="962651" y="260139"/>
                </a:lnTo>
                <a:lnTo>
                  <a:pt x="920930" y="260139"/>
                </a:lnTo>
                <a:lnTo>
                  <a:pt x="936221" y="178334"/>
                </a:lnTo>
                <a:cubicBezTo>
                  <a:pt x="948807" y="110751"/>
                  <a:pt x="974984" y="81805"/>
                  <a:pt x="1030612" y="81805"/>
                </a:cubicBezTo>
                <a:close/>
                <a:moveTo>
                  <a:pt x="1627789" y="33980"/>
                </a:moveTo>
                <a:lnTo>
                  <a:pt x="1669509" y="33980"/>
                </a:lnTo>
                <a:lnTo>
                  <a:pt x="1647736" y="151150"/>
                </a:lnTo>
                <a:cubicBezTo>
                  <a:pt x="1638360" y="202309"/>
                  <a:pt x="1619923" y="264418"/>
                  <a:pt x="1543529" y="264418"/>
                </a:cubicBezTo>
                <a:cubicBezTo>
                  <a:pt x="1507850" y="264418"/>
                  <a:pt x="1483623" y="234150"/>
                  <a:pt x="1483623" y="199666"/>
                </a:cubicBezTo>
                <a:cubicBezTo>
                  <a:pt x="1483623" y="141711"/>
                  <a:pt x="1521883" y="81804"/>
                  <a:pt x="1576188" y="81804"/>
                </a:cubicBezTo>
                <a:cubicBezTo>
                  <a:pt x="1591171" y="81409"/>
                  <a:pt x="1605638" y="87295"/>
                  <a:pt x="1616084" y="98040"/>
                </a:cubicBezTo>
                <a:close/>
                <a:moveTo>
                  <a:pt x="743414" y="33980"/>
                </a:moveTo>
                <a:lnTo>
                  <a:pt x="793756" y="33980"/>
                </a:lnTo>
                <a:lnTo>
                  <a:pt x="768585" y="169902"/>
                </a:lnTo>
                <a:cubicBezTo>
                  <a:pt x="762858" y="200736"/>
                  <a:pt x="770724" y="230060"/>
                  <a:pt x="800992" y="230060"/>
                </a:cubicBezTo>
                <a:cubicBezTo>
                  <a:pt x="829561" y="230060"/>
                  <a:pt x="845733" y="208476"/>
                  <a:pt x="853159" y="170342"/>
                </a:cubicBezTo>
                <a:lnTo>
                  <a:pt x="878329" y="33980"/>
                </a:lnTo>
                <a:lnTo>
                  <a:pt x="928356" y="33980"/>
                </a:lnTo>
                <a:lnTo>
                  <a:pt x="907402" y="147437"/>
                </a:lnTo>
                <a:cubicBezTo>
                  <a:pt x="892173" y="229368"/>
                  <a:pt x="860773" y="264292"/>
                  <a:pt x="793126" y="264292"/>
                </a:cubicBezTo>
                <a:cubicBezTo>
                  <a:pt x="725480" y="264292"/>
                  <a:pt x="710629" y="212881"/>
                  <a:pt x="722208" y="147248"/>
                </a:cubicBezTo>
                <a:close/>
                <a:moveTo>
                  <a:pt x="1247017" y="33728"/>
                </a:moveTo>
                <a:lnTo>
                  <a:pt x="1288675" y="33728"/>
                </a:lnTo>
                <a:lnTo>
                  <a:pt x="1278984" y="85768"/>
                </a:lnTo>
                <a:lnTo>
                  <a:pt x="1320641" y="85768"/>
                </a:lnTo>
                <a:lnTo>
                  <a:pt x="1316488" y="109995"/>
                </a:lnTo>
                <a:lnTo>
                  <a:pt x="1274516" y="109995"/>
                </a:lnTo>
                <a:lnTo>
                  <a:pt x="1258155" y="196897"/>
                </a:lnTo>
                <a:cubicBezTo>
                  <a:pt x="1248842" y="246609"/>
                  <a:pt x="1273761" y="242519"/>
                  <a:pt x="1293709" y="235408"/>
                </a:cubicBezTo>
                <a:lnTo>
                  <a:pt x="1300945" y="251707"/>
                </a:lnTo>
                <a:cubicBezTo>
                  <a:pt x="1286743" y="259947"/>
                  <a:pt x="1270615" y="264289"/>
                  <a:pt x="1254191" y="264292"/>
                </a:cubicBezTo>
                <a:cubicBezTo>
                  <a:pt x="1223734" y="264292"/>
                  <a:pt x="1206933" y="248812"/>
                  <a:pt x="1215554" y="202183"/>
                </a:cubicBezTo>
                <a:close/>
                <a:moveTo>
                  <a:pt x="1177861" y="16046"/>
                </a:moveTo>
                <a:cubicBezTo>
                  <a:pt x="1190440" y="16081"/>
                  <a:pt x="1200615" y="26308"/>
                  <a:pt x="1200577" y="38888"/>
                </a:cubicBezTo>
                <a:cubicBezTo>
                  <a:pt x="1200508" y="51385"/>
                  <a:pt x="1190358" y="61479"/>
                  <a:pt x="1177861" y="61479"/>
                </a:cubicBezTo>
                <a:cubicBezTo>
                  <a:pt x="1165313" y="61479"/>
                  <a:pt x="1155144" y="51309"/>
                  <a:pt x="1155144" y="38763"/>
                </a:cubicBezTo>
                <a:cubicBezTo>
                  <a:pt x="1155144" y="26217"/>
                  <a:pt x="1165313" y="16046"/>
                  <a:pt x="1177861" y="16046"/>
                </a:cubicBezTo>
                <a:close/>
                <a:moveTo>
                  <a:pt x="323377" y="11830"/>
                </a:moveTo>
                <a:cubicBezTo>
                  <a:pt x="409650" y="34421"/>
                  <a:pt x="492021" y="80483"/>
                  <a:pt x="549914" y="119561"/>
                </a:cubicBezTo>
                <a:cubicBezTo>
                  <a:pt x="512221" y="224145"/>
                  <a:pt x="422361" y="428972"/>
                  <a:pt x="308589" y="372904"/>
                </a:cubicBezTo>
                <a:cubicBezTo>
                  <a:pt x="209668" y="324513"/>
                  <a:pt x="297263" y="78218"/>
                  <a:pt x="323377" y="11830"/>
                </a:cubicBezTo>
                <a:close/>
                <a:moveTo>
                  <a:pt x="183427" y="0"/>
                </a:moveTo>
                <a:cubicBezTo>
                  <a:pt x="157564" y="64060"/>
                  <a:pt x="16986" y="437908"/>
                  <a:pt x="282915" y="462072"/>
                </a:cubicBezTo>
                <a:cubicBezTo>
                  <a:pt x="448286" y="476985"/>
                  <a:pt x="535881" y="266873"/>
                  <a:pt x="573637" y="136111"/>
                </a:cubicBezTo>
                <a:cubicBezTo>
                  <a:pt x="590275" y="147928"/>
                  <a:pt x="606260" y="160636"/>
                  <a:pt x="621524" y="174181"/>
                </a:cubicBezTo>
                <a:cubicBezTo>
                  <a:pt x="733597" y="276878"/>
                  <a:pt x="470500" y="557091"/>
                  <a:pt x="263974" y="550106"/>
                </a:cubicBezTo>
                <a:cubicBezTo>
                  <a:pt x="76452" y="543688"/>
                  <a:pt x="-131899" y="136362"/>
                  <a:pt x="107915" y="21961"/>
                </a:cubicBezTo>
                <a:cubicBezTo>
                  <a:pt x="131745" y="10638"/>
                  <a:pt x="157241" y="3222"/>
                  <a:pt x="183427" y="0"/>
                </a:cubicBezTo>
                <a:close/>
              </a:path>
            </a:pathLst>
          </a:custGeom>
          <a:solidFill>
            <a:srgbClr val="FFFFFF"/>
          </a:solidFill>
          <a:ln w="629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pic>
        <p:nvPicPr>
          <p:cNvPr id="6" name="Graphic 85">
            <a:extLst>
              <a:ext uri="{FF2B5EF4-FFF2-40B4-BE49-F238E27FC236}">
                <a16:creationId xmlns="" xmlns:a16="http://schemas.microsoft.com/office/drawing/2014/main" id="{287E375C-9AC6-48F8-ABAF-62289F8D959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970558" y="1405228"/>
            <a:ext cx="8417650" cy="4320000"/>
          </a:xfrm>
          <a:prstGeom prst="rect">
            <a:avLst/>
          </a:prstGeom>
        </p:spPr>
      </p:pic>
      <p:pic>
        <p:nvPicPr>
          <p:cNvPr id="7" name="Graphic 8">
            <a:extLst>
              <a:ext uri="{FF2B5EF4-FFF2-40B4-BE49-F238E27FC236}">
                <a16:creationId xmlns="" xmlns:a16="http://schemas.microsoft.com/office/drawing/2014/main" id="{7A43027D-C780-4953-8AC9-BD5A03F697F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892778" y="2699970"/>
            <a:ext cx="1437761" cy="1275118"/>
          </a:xfrm>
          <a:prstGeom prst="rect">
            <a:avLst/>
          </a:prstGeom>
        </p:spPr>
      </p:pic>
      <p:pic>
        <p:nvPicPr>
          <p:cNvPr id="8" name="Graphic 11">
            <a:extLst>
              <a:ext uri="{FF2B5EF4-FFF2-40B4-BE49-F238E27FC236}">
                <a16:creationId xmlns="" xmlns:a16="http://schemas.microsoft.com/office/drawing/2014/main" id="{933B0417-B1FA-48F1-A12A-20DA17B31F80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5448338" y="3109829"/>
            <a:ext cx="318779" cy="45539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703823" y="287714"/>
            <a:ext cx="3898375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2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Developer Day</a:t>
            </a:r>
            <a:endParaRPr lang="en-GB" sz="42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107999" y="145054"/>
            <a:ext cx="195438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GB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23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GB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vin Shirtcliffe</a:t>
            </a:r>
            <a:endParaRPr lang="en-GB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8" name="Graphic 124">
            <a:extLst>
              <a:ext uri="{FF2B5EF4-FFF2-40B4-BE49-F238E27FC236}">
                <a16:creationId xmlns="" xmlns:a16="http://schemas.microsoft.com/office/drawing/2014/main" id="{8C981906-B821-4B19-B196-CCE8EE3E4D2F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>
          <a:xfrm>
            <a:off x="7922240" y="1826694"/>
            <a:ext cx="1037274" cy="691515"/>
          </a:xfrm>
          <a:prstGeom prst="rect">
            <a:avLst/>
          </a:prstGeom>
          <a:ln>
            <a:noFill/>
          </a:ln>
        </p:spPr>
      </p:pic>
      <p:sp>
        <p:nvSpPr>
          <p:cNvPr id="13" name="TextBox 12"/>
          <p:cNvSpPr txBox="1"/>
          <p:nvPr/>
        </p:nvSpPr>
        <p:spPr>
          <a:xfrm>
            <a:off x="352999" y="5891066"/>
            <a:ext cx="9249199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42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Unlocking Value from Smart Meters</a:t>
            </a:r>
            <a:endParaRPr lang="en-GB" sz="42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023419" y="2497976"/>
            <a:ext cx="4145163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5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Why?</a:t>
            </a:r>
            <a:endParaRPr lang="en-GB" sz="115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5676057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0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4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0" presetClass="exit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3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" grpId="0"/>
      <p:bldP spid="10" grpId="0"/>
      <p:bldP spid="13" grpId="0"/>
      <p:bldP spid="11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9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29" name="Title 21"/>
          <p:cNvSpPr>
            <a:spLocks noGrp="1"/>
          </p:cNvSpPr>
          <p:nvPr>
            <p:ph type="title"/>
          </p:nvPr>
        </p:nvSpPr>
        <p:spPr>
          <a:xfrm>
            <a:off x="365125" y="322810"/>
            <a:ext cx="11260818" cy="439981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There is more demand for water and less predictable supply</a:t>
            </a:r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>
          <a:xfrm>
            <a:off x="5039945" y="1223203"/>
            <a:ext cx="6855477" cy="5303002"/>
            <a:chOff x="5223991" y="1205228"/>
            <a:chExt cx="6855477" cy="5303002"/>
          </a:xfrm>
        </p:grpSpPr>
        <p:sp>
          <p:nvSpPr>
            <p:cNvPr id="31" name="Hexagon 30"/>
            <p:cNvSpPr/>
            <p:nvPr/>
          </p:nvSpPr>
          <p:spPr>
            <a:xfrm>
              <a:off x="5223991" y="2132111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Longer dryer summers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2" name="Hexagon 31"/>
            <p:cNvSpPr/>
            <p:nvPr/>
          </p:nvSpPr>
          <p:spPr>
            <a:xfrm>
              <a:off x="10168290" y="2137446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Shorter wetter winters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614055" y="1205228"/>
              <a:ext cx="4132434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The future climate of North West </a:t>
              </a:r>
              <a:r>
                <a:rPr lang="en-GB" dirty="0" smtClean="0">
                  <a:solidFill>
                    <a:schemeClr val="bg1"/>
                  </a:solidFill>
                </a:rPr>
                <a:t>England</a:t>
              </a:r>
              <a:br>
                <a:rPr lang="en-GB" dirty="0" smtClean="0">
                  <a:solidFill>
                    <a:schemeClr val="bg1"/>
                  </a:solidFill>
                </a:rPr>
              </a:br>
              <a:r>
                <a:rPr lang="en-GB" dirty="0" smtClean="0">
                  <a:solidFill>
                    <a:schemeClr val="bg1"/>
                  </a:solidFill>
                </a:rPr>
                <a:t>The University of Manchester, June 2022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951122" y="2039368"/>
              <a:ext cx="3458299" cy="14773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By 2050</a:t>
              </a:r>
            </a:p>
            <a:p>
              <a:pPr algn="ctr"/>
              <a:endParaRPr lang="en-GB" dirty="0">
                <a:solidFill>
                  <a:schemeClr val="bg1"/>
                </a:solidFill>
              </a:endParaRPr>
            </a:p>
            <a:p>
              <a:pPr algn="ctr"/>
              <a:r>
                <a:rPr lang="en-GB" dirty="0">
                  <a:solidFill>
                    <a:schemeClr val="bg1"/>
                  </a:solidFill>
                </a:rPr>
                <a:t>Summers will be </a:t>
              </a:r>
              <a:r>
                <a:rPr lang="en-GB" b="1" dirty="0">
                  <a:solidFill>
                    <a:schemeClr val="bg1"/>
                  </a:solidFill>
                </a:rPr>
                <a:t>18%</a:t>
              </a:r>
              <a:r>
                <a:rPr lang="en-GB" dirty="0">
                  <a:solidFill>
                    <a:schemeClr val="bg1"/>
                  </a:solidFill>
                </a:rPr>
                <a:t> </a:t>
              </a:r>
              <a:r>
                <a:rPr lang="en-GB" dirty="0" smtClean="0">
                  <a:solidFill>
                    <a:schemeClr val="bg1"/>
                  </a:solidFill>
                </a:rPr>
                <a:t>drier</a:t>
              </a:r>
            </a:p>
            <a:p>
              <a:pPr algn="ctr"/>
              <a:endParaRPr lang="en-GB" dirty="0">
                <a:solidFill>
                  <a:schemeClr val="bg1"/>
                </a:solidFill>
              </a:endParaRPr>
            </a:p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Winters will be </a:t>
              </a:r>
              <a:r>
                <a:rPr lang="en-GB" b="1" dirty="0" smtClean="0">
                  <a:solidFill>
                    <a:schemeClr val="bg1"/>
                  </a:solidFill>
                </a:rPr>
                <a:t>13%</a:t>
              </a:r>
              <a:r>
                <a:rPr lang="en-GB" dirty="0" smtClean="0">
                  <a:solidFill>
                    <a:schemeClr val="bg1"/>
                  </a:solidFill>
                </a:rPr>
                <a:t> wetter</a:t>
              </a:r>
            </a:p>
          </p:txBody>
        </p:sp>
        <p:sp>
          <p:nvSpPr>
            <p:cNvPr id="35" name="Hexagon 34"/>
            <p:cNvSpPr>
              <a:spLocks noChangeAspect="1"/>
            </p:cNvSpPr>
            <p:nvPr/>
          </p:nvSpPr>
          <p:spPr>
            <a:xfrm>
              <a:off x="8907948" y="4060230"/>
              <a:ext cx="2840018" cy="2448000"/>
            </a:xfrm>
            <a:prstGeom prst="hexagon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7801" r="-12259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36" name="Hexagon 35"/>
            <p:cNvSpPr>
              <a:spLocks noChangeAspect="1"/>
            </p:cNvSpPr>
            <p:nvPr/>
          </p:nvSpPr>
          <p:spPr>
            <a:xfrm>
              <a:off x="5727269" y="4060230"/>
              <a:ext cx="2839680" cy="2448000"/>
            </a:xfrm>
            <a:prstGeom prst="hexagon">
              <a:avLst/>
            </a:prstGeom>
            <a:blipFill dpi="0"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148949" y="1500652"/>
            <a:ext cx="5105495" cy="4594002"/>
            <a:chOff x="175582" y="1577703"/>
            <a:chExt cx="5105495" cy="4594002"/>
          </a:xfrm>
        </p:grpSpPr>
        <p:sp>
          <p:nvSpPr>
            <p:cNvPr id="39" name="Hexagon 38"/>
            <p:cNvSpPr/>
            <p:nvPr/>
          </p:nvSpPr>
          <p:spPr>
            <a:xfrm>
              <a:off x="175582" y="1646713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More people 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0" name="Hexagon 39"/>
            <p:cNvSpPr/>
            <p:nvPr/>
          </p:nvSpPr>
          <p:spPr>
            <a:xfrm>
              <a:off x="175582" y="4474513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Each   using more water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2202285" y="5248375"/>
              <a:ext cx="2837660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>
                  <a:solidFill>
                    <a:schemeClr val="bg1"/>
                  </a:solidFill>
                </a:rPr>
                <a:t>Personal water use in the home has increased by over </a:t>
              </a:r>
              <a:r>
                <a:rPr lang="en-GB" b="1" dirty="0">
                  <a:solidFill>
                    <a:schemeClr val="bg1"/>
                  </a:solidFill>
                </a:rPr>
                <a:t>60% </a:t>
              </a:r>
              <a:r>
                <a:rPr lang="en-GB" dirty="0">
                  <a:solidFill>
                    <a:schemeClr val="bg1"/>
                  </a:solidFill>
                </a:rPr>
                <a:t>since the </a:t>
              </a:r>
              <a:r>
                <a:rPr lang="en-GB" dirty="0" smtClean="0">
                  <a:solidFill>
                    <a:schemeClr val="bg1"/>
                  </a:solidFill>
                </a:rPr>
                <a:t>1960s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>
              <a:off x="2186906" y="1577703"/>
              <a:ext cx="309417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There has been a </a:t>
              </a:r>
              <a:r>
                <a:rPr lang="en-GB" b="1" dirty="0" smtClean="0">
                  <a:solidFill>
                    <a:schemeClr val="bg1"/>
                  </a:solidFill>
                </a:rPr>
                <a:t>30% </a:t>
              </a:r>
              <a:r>
                <a:rPr lang="en-GB" dirty="0" smtClean="0">
                  <a:solidFill>
                    <a:schemeClr val="bg1"/>
                  </a:solidFill>
                </a:rPr>
                <a:t>increase in England’s population from 1961 to 2021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43" name="Hexagon 42"/>
            <p:cNvSpPr>
              <a:spLocks noChangeAspect="1"/>
            </p:cNvSpPr>
            <p:nvPr/>
          </p:nvSpPr>
          <p:spPr>
            <a:xfrm>
              <a:off x="1300749" y="2650704"/>
              <a:ext cx="2840017" cy="2448000"/>
            </a:xfrm>
            <a:prstGeom prst="hexagon">
              <a:avLst>
                <a:gd name="adj" fmla="val 28773"/>
                <a:gd name="vf" fmla="val 115470"/>
              </a:avLst>
            </a:prstGeom>
            <a:blipFill dpi="0"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16" r="-43158"/>
              </a:stretch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</a:endParaRPr>
            </a:p>
          </p:txBody>
        </p:sp>
      </p:grpSp>
      <p:sp>
        <p:nvSpPr>
          <p:cNvPr id="44" name="TextBox 43"/>
          <p:cNvSpPr txBox="1"/>
          <p:nvPr/>
        </p:nvSpPr>
        <p:spPr>
          <a:xfrm>
            <a:off x="4023419" y="2497976"/>
            <a:ext cx="4145163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5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Why?</a:t>
            </a:r>
            <a:endParaRPr lang="en-GB" sz="115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515074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2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4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" y="-13448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grpSp>
        <p:nvGrpSpPr>
          <p:cNvPr id="2" name="Group 1"/>
          <p:cNvGrpSpPr/>
          <p:nvPr/>
        </p:nvGrpSpPr>
        <p:grpSpPr>
          <a:xfrm>
            <a:off x="4328948" y="2076423"/>
            <a:ext cx="6872871" cy="1647567"/>
            <a:chOff x="5052848" y="2988340"/>
            <a:chExt cx="6872871" cy="1647567"/>
          </a:xfrm>
        </p:grpSpPr>
        <p:sp>
          <p:nvSpPr>
            <p:cNvPr id="6" name="Hexagon 5"/>
            <p:cNvSpPr/>
            <p:nvPr/>
          </p:nvSpPr>
          <p:spPr>
            <a:xfrm>
              <a:off x="5052848" y="2988340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Leakage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829719" y="3051106"/>
              <a:ext cx="6096000" cy="1015663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GB" sz="2400" b="1" dirty="0" smtClean="0">
                  <a:solidFill>
                    <a:schemeClr val="bg1"/>
                  </a:solidFill>
                </a:rPr>
                <a:t>Leakage</a:t>
              </a:r>
              <a:endParaRPr lang="en-GB" sz="2400" b="1" dirty="0">
                <a:solidFill>
                  <a:schemeClr val="bg1"/>
                </a:solidFill>
              </a:endParaRPr>
            </a:p>
            <a:p>
              <a:pPr algn="ctr"/>
              <a:r>
                <a:rPr lang="en-GB" b="1" dirty="0">
                  <a:solidFill>
                    <a:schemeClr val="bg1"/>
                  </a:solidFill>
                </a:rPr>
                <a:t>50%</a:t>
              </a:r>
              <a:r>
                <a:rPr lang="en-GB" dirty="0">
                  <a:solidFill>
                    <a:schemeClr val="bg1"/>
                  </a:solidFill>
                </a:rPr>
                <a:t> (~224 Ml/d) reduction by 2050</a:t>
              </a:r>
            </a:p>
            <a:p>
              <a:pPr algn="ctr"/>
              <a:r>
                <a:rPr lang="en-GB" dirty="0">
                  <a:solidFill>
                    <a:schemeClr val="bg1"/>
                  </a:solidFill>
                </a:rPr>
                <a:t>(compared to 2017 levels ~449 Ml/d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648405" y="3424552"/>
            <a:ext cx="6518984" cy="1647567"/>
            <a:chOff x="5052848" y="4771538"/>
            <a:chExt cx="6518984" cy="1647567"/>
          </a:xfrm>
        </p:grpSpPr>
        <p:sp>
          <p:nvSpPr>
            <p:cNvPr id="5" name="Hexagon 4"/>
            <p:cNvSpPr/>
            <p:nvPr/>
          </p:nvSpPr>
          <p:spPr>
            <a:xfrm>
              <a:off x="5052848" y="4771538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PCC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998456" y="5127192"/>
              <a:ext cx="5573376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400" b="1" dirty="0">
                  <a:solidFill>
                    <a:schemeClr val="bg1"/>
                  </a:solidFill>
                </a:rPr>
                <a:t>Per Capita </a:t>
              </a:r>
              <a:r>
                <a:rPr lang="en-GB" sz="2400" b="1" dirty="0" smtClean="0">
                  <a:solidFill>
                    <a:schemeClr val="bg1"/>
                  </a:solidFill>
                </a:rPr>
                <a:t>Consumption</a:t>
              </a:r>
              <a:endParaRPr lang="en-GB" sz="2400" b="1" dirty="0">
                <a:solidFill>
                  <a:schemeClr val="bg1"/>
                </a:solidFill>
              </a:endParaRPr>
            </a:p>
            <a:p>
              <a:pPr algn="ctr"/>
              <a:r>
                <a:rPr lang="en-GB" dirty="0">
                  <a:solidFill>
                    <a:schemeClr val="bg1"/>
                  </a:solidFill>
                </a:rPr>
                <a:t>110 litres/person/day by 2050</a:t>
              </a:r>
            </a:p>
          </p:txBody>
        </p:sp>
      </p:grpSp>
      <p:sp>
        <p:nvSpPr>
          <p:cNvPr id="9" name="Title 21"/>
          <p:cNvSpPr>
            <a:spLocks noGrp="1"/>
          </p:cNvSpPr>
          <p:nvPr>
            <p:ph type="title"/>
          </p:nvPr>
        </p:nvSpPr>
        <p:spPr>
          <a:xfrm>
            <a:off x="365125" y="322810"/>
            <a:ext cx="11260818" cy="439981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UU is committed to water sustainability in the North West </a:t>
            </a:r>
            <a:endParaRPr lang="en-GB" dirty="0">
              <a:solidFill>
                <a:schemeClr val="bg1"/>
              </a:solidFill>
            </a:endParaRPr>
          </a:p>
        </p:txBody>
      </p:sp>
      <p:pic>
        <p:nvPicPr>
          <p:cNvPr id="10" name="Picture Placeholder 11">
            <a:extLst>
              <a:ext uri="{FF2B5EF4-FFF2-40B4-BE49-F238E27FC236}">
                <a16:creationId xmlns="" xmlns:a16="http://schemas.microsoft.com/office/drawing/2014/main" id="{DCF5E594-3569-4F90-86F3-686CDAAC65C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29" r="38041"/>
          <a:stretch/>
        </p:blipFill>
        <p:spPr>
          <a:xfrm>
            <a:off x="0" y="1019580"/>
            <a:ext cx="4521600" cy="5298542"/>
          </a:xfrm>
          <a:custGeom>
            <a:avLst/>
            <a:gdLst>
              <a:gd name="connsiteX0" fmla="*/ 0 w 4583160"/>
              <a:gd name="connsiteY0" fmla="*/ 1975499 h 3950998"/>
              <a:gd name="connsiteX1" fmla="*/ 1129985 w 4583160"/>
              <a:gd name="connsiteY1" fmla="*/ 1 h 3950998"/>
              <a:gd name="connsiteX2" fmla="*/ 3453175 w 4583160"/>
              <a:gd name="connsiteY2" fmla="*/ 1 h 3950998"/>
              <a:gd name="connsiteX3" fmla="*/ 4583160 w 4583160"/>
              <a:gd name="connsiteY3" fmla="*/ 1975499 h 3950998"/>
              <a:gd name="connsiteX4" fmla="*/ 3453175 w 4583160"/>
              <a:gd name="connsiteY4" fmla="*/ 3950997 h 3950998"/>
              <a:gd name="connsiteX5" fmla="*/ 1129985 w 4583160"/>
              <a:gd name="connsiteY5" fmla="*/ 3950997 h 3950998"/>
              <a:gd name="connsiteX6" fmla="*/ 0 w 4583160"/>
              <a:gd name="connsiteY6" fmla="*/ 1975499 h 3950998"/>
              <a:gd name="connsiteX0" fmla="*/ 0 w 3453175"/>
              <a:gd name="connsiteY0" fmla="*/ 3950996 h 3950996"/>
              <a:gd name="connsiteX1" fmla="*/ 0 w 3453175"/>
              <a:gd name="connsiteY1" fmla="*/ 0 h 3950996"/>
              <a:gd name="connsiteX2" fmla="*/ 2323190 w 3453175"/>
              <a:gd name="connsiteY2" fmla="*/ 0 h 3950996"/>
              <a:gd name="connsiteX3" fmla="*/ 3453175 w 3453175"/>
              <a:gd name="connsiteY3" fmla="*/ 1975498 h 3950996"/>
              <a:gd name="connsiteX4" fmla="*/ 2323190 w 3453175"/>
              <a:gd name="connsiteY4" fmla="*/ 3950996 h 3950996"/>
              <a:gd name="connsiteX5" fmla="*/ 0 w 3453175"/>
              <a:gd name="connsiteY5" fmla="*/ 3950996 h 3950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53175" h="3950996">
                <a:moveTo>
                  <a:pt x="0" y="3950996"/>
                </a:moveTo>
                <a:lnTo>
                  <a:pt x="0" y="0"/>
                </a:lnTo>
                <a:lnTo>
                  <a:pt x="2323190" y="0"/>
                </a:lnTo>
                <a:lnTo>
                  <a:pt x="3453175" y="1975498"/>
                </a:lnTo>
                <a:lnTo>
                  <a:pt x="2323190" y="3950996"/>
                </a:lnTo>
                <a:lnTo>
                  <a:pt x="0" y="3950996"/>
                </a:lnTo>
                <a:close/>
              </a:path>
            </a:pathLst>
          </a:custGeom>
        </p:spPr>
      </p:pic>
      <p:sp>
        <p:nvSpPr>
          <p:cNvPr id="11" name="Rectangle 10"/>
          <p:cNvSpPr/>
          <p:nvPr/>
        </p:nvSpPr>
        <p:spPr>
          <a:xfrm>
            <a:off x="3486150" y="1019886"/>
            <a:ext cx="843915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</a:rPr>
              <a:t>We need to use our water more sustainably and more responsibly. This means </a:t>
            </a:r>
            <a:r>
              <a:rPr lang="en-GB" sz="2000" b="1" dirty="0" smtClean="0">
                <a:solidFill>
                  <a:schemeClr val="bg1"/>
                </a:solidFill>
              </a:rPr>
              <a:t>using less and losing less</a:t>
            </a:r>
            <a:r>
              <a:rPr lang="en-GB" sz="2000" dirty="0" smtClean="0">
                <a:solidFill>
                  <a:schemeClr val="bg1"/>
                </a:solidFill>
              </a:rPr>
              <a:t>. UU is committed to further reducing leakage and encouraging water efficiency to help ensure future water resilience. </a:t>
            </a:r>
            <a:endParaRPr lang="en-GB" sz="2000" dirty="0">
              <a:solidFill>
                <a:schemeClr val="bg1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4328948" y="4743879"/>
            <a:ext cx="6800808" cy="1647567"/>
            <a:chOff x="5052848" y="2988340"/>
            <a:chExt cx="6800808" cy="1647567"/>
          </a:xfrm>
        </p:grpSpPr>
        <p:sp>
          <p:nvSpPr>
            <p:cNvPr id="14" name="Hexagon 13"/>
            <p:cNvSpPr/>
            <p:nvPr/>
          </p:nvSpPr>
          <p:spPr>
            <a:xfrm>
              <a:off x="5052848" y="2988340"/>
              <a:ext cx="1911178" cy="164756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Business Usage</a:t>
              </a:r>
              <a:endParaRPr lang="en-GB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57656" y="3521906"/>
              <a:ext cx="6096000" cy="954107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/>
              <a:r>
                <a:rPr lang="en-GB" sz="2400" b="1" dirty="0" smtClean="0">
                  <a:solidFill>
                    <a:schemeClr val="bg1"/>
                  </a:solidFill>
                </a:rPr>
                <a:t>Business Usage reduction</a:t>
              </a:r>
            </a:p>
            <a:p>
              <a:pPr algn="ctr"/>
              <a:r>
                <a:rPr lang="en-GB" dirty="0" smtClean="0">
                  <a:solidFill>
                    <a:schemeClr val="bg1"/>
                  </a:solidFill>
                </a:rPr>
                <a:t>8.3 % reduction by 2030</a:t>
              </a:r>
            </a:p>
            <a:p>
              <a:pPr algn="ctr"/>
              <a:r>
                <a:rPr lang="en-GB" sz="1400" dirty="0" smtClean="0">
                  <a:solidFill>
                    <a:schemeClr val="bg1"/>
                  </a:solidFill>
                </a:rPr>
                <a:t>15% reduction by 2050</a:t>
              </a:r>
              <a:endParaRPr lang="en-GB" sz="14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2253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9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grpSp>
        <p:nvGrpSpPr>
          <p:cNvPr id="19" name="Group 18"/>
          <p:cNvGrpSpPr/>
          <p:nvPr/>
        </p:nvGrpSpPr>
        <p:grpSpPr>
          <a:xfrm>
            <a:off x="522271" y="876307"/>
            <a:ext cx="5054601" cy="5539611"/>
            <a:chOff x="522271" y="876307"/>
            <a:chExt cx="5054601" cy="5539611"/>
          </a:xfrm>
        </p:grpSpPr>
        <p:pic>
          <p:nvPicPr>
            <p:cNvPr id="6" name="slide6">
              <a:extLst>
                <a:ext uri="{FF2B5EF4-FFF2-40B4-BE49-F238E27FC236}">
                  <a16:creationId xmlns="" xmlns:a16="http://schemas.microsoft.com/office/drawing/2014/main" id="{991B12D3-C576-4151-B521-165BF892F4A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88212" y="3120593"/>
              <a:ext cx="3635962" cy="3295325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609201" y="1866296"/>
              <a:ext cx="4408088" cy="1041054"/>
              <a:chOff x="1019264" y="2158556"/>
              <a:chExt cx="4408088" cy="1041054"/>
            </a:xfrm>
          </p:grpSpPr>
          <p:sp>
            <p:nvSpPr>
              <p:cNvPr id="8" name="Google Shape;166;p3">
                <a:extLst>
                  <a:ext uri="{FF2B5EF4-FFF2-40B4-BE49-F238E27FC236}">
                    <a16:creationId xmlns="" xmlns:a16="http://schemas.microsoft.com/office/drawing/2014/main" id="{82B6C466-DC6C-44E6-B0FD-1B006963BA79}"/>
                  </a:ext>
                </a:extLst>
              </p:cNvPr>
              <p:cNvSpPr/>
              <p:nvPr/>
            </p:nvSpPr>
            <p:spPr>
              <a:xfrm>
                <a:off x="2492987" y="2230596"/>
                <a:ext cx="1671836" cy="4622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buFont typeface="Arial"/>
                  <a:buNone/>
                  <a:defRPr/>
                </a:pPr>
                <a:r>
                  <a:rPr lang="en-GB" sz="1400" b="1" kern="0" dirty="0">
                    <a:solidFill>
                      <a:schemeClr val="bg1"/>
                    </a:solidFill>
                    <a:cs typeface="Calibri"/>
                    <a:sym typeface="Calibri"/>
                  </a:rPr>
                  <a:t>Domestic meters</a:t>
                </a:r>
                <a:endParaRPr lang="en-GB" sz="1400" kern="0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9" name="Google Shape;166;p3">
                <a:extLst>
                  <a:ext uri="{FF2B5EF4-FFF2-40B4-BE49-F238E27FC236}">
                    <a16:creationId xmlns="" xmlns:a16="http://schemas.microsoft.com/office/drawing/2014/main" id="{85EFF506-9626-425D-A214-48FF0755AAEF}"/>
                  </a:ext>
                </a:extLst>
              </p:cNvPr>
              <p:cNvSpPr/>
              <p:nvPr/>
            </p:nvSpPr>
            <p:spPr>
              <a:xfrm>
                <a:off x="1278843" y="2642389"/>
                <a:ext cx="3923878" cy="462280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algn="ctr">
                  <a:buClr>
                    <a:srgbClr val="000000"/>
                  </a:buClr>
                  <a:buSzPts val="1400"/>
                  <a:buFont typeface="Arial"/>
                  <a:buNone/>
                  <a:defRPr/>
                </a:pPr>
                <a:r>
                  <a:rPr lang="en-GB" sz="1400" b="1" kern="0" dirty="0">
                    <a:solidFill>
                      <a:schemeClr val="bg1"/>
                    </a:solidFill>
                    <a:cs typeface="Calibri"/>
                    <a:sym typeface="Calibri"/>
                  </a:rPr>
                  <a:t>Commercial meters</a:t>
                </a:r>
                <a:endParaRPr lang="en-GB" sz="1400" kern="0" dirty="0">
                  <a:solidFill>
                    <a:schemeClr val="bg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0" name="slide7">
                <a:extLst>
                  <a:ext uri="{FF2B5EF4-FFF2-40B4-BE49-F238E27FC236}">
                    <a16:creationId xmlns="" xmlns:a16="http://schemas.microsoft.com/office/drawing/2014/main" id="{5A44C401-F88A-4E83-A108-C60EBC77234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1019264" y="2301991"/>
                <a:ext cx="1025271" cy="491224"/>
              </a:xfrm>
              <a:prstGeom prst="rect">
                <a:avLst/>
              </a:prstGeom>
            </p:spPr>
          </p:pic>
          <p:graphicFrame>
            <p:nvGraphicFramePr>
              <p:cNvPr id="11" name="Chart 10"/>
              <p:cNvGraphicFramePr/>
              <p:nvPr>
                <p:custDataLst>
                  <p:tags r:id="rId1"/>
                </p:custDataLst>
                <p:extLst>
                  <p:ext uri="{D42A27DB-BD31-4B8C-83A1-F6EECF244321}">
                    <p14:modId xmlns:p14="http://schemas.microsoft.com/office/powerpoint/2010/main" val="3041190895"/>
                  </p:ext>
                </p:extLst>
              </p:nvPr>
            </p:nvGraphicFramePr>
            <p:xfrm>
              <a:off x="4132807" y="2158556"/>
              <a:ext cx="869950" cy="55988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1"/>
              </a:graphicData>
            </a:graphic>
          </p:graphicFrame>
          <p:sp>
            <p:nvSpPr>
              <p:cNvPr id="12" name="Rectangle 11">
                <a:extLst>
                  <a:ext uri="{FF2B5EF4-FFF2-40B4-BE49-F238E27FC236}">
                    <a16:creationId xmlns="" xmlns:a16="http://schemas.microsoft.com/office/drawing/2014/main" id="{1D4F7504-8AFD-492D-B8B2-EAB83EC56818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4978089" y="2367775"/>
                <a:ext cx="449263" cy="16510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25400" tIns="0" rIns="25400" bIns="0" numCol="1" spcCol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r>
                  <a:rPr lang="en-GB" altLang="en-US" sz="1200" b="1" kern="0" dirty="0" smtClean="0">
                    <a:solidFill>
                      <a:schemeClr val="bg1"/>
                    </a:solidFill>
                    <a:cs typeface="Calibri" panose="020F0502020204030204" pitchFamily="34" charset="0"/>
                    <a:sym typeface="Calibri" panose="020F0502020204030204" pitchFamily="34" charset="0"/>
                  </a:rPr>
                  <a:t>1.46m</a:t>
                </a:r>
                <a:endParaRPr lang="en-GB" sz="1200" b="1" kern="0" dirty="0">
                  <a:solidFill>
                    <a:schemeClr val="bg1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graphicFrame>
            <p:nvGraphicFramePr>
              <p:cNvPr id="13" name="Chart 12"/>
              <p:cNvGraphicFramePr/>
              <p:nvPr>
                <p:custDataLst>
                  <p:tags r:id="rId3"/>
                </p:custDataLst>
                <p:extLst>
                  <p:ext uri="{D42A27DB-BD31-4B8C-83A1-F6EECF244321}">
                    <p14:modId xmlns:p14="http://schemas.microsoft.com/office/powerpoint/2010/main" val="3866453656"/>
                  </p:ext>
                </p:extLst>
              </p:nvPr>
            </p:nvGraphicFramePr>
            <p:xfrm>
              <a:off x="4132807" y="2680123"/>
              <a:ext cx="250825" cy="519487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12"/>
              </a:graphicData>
            </a:graphic>
          </p:graphicFrame>
          <p:sp>
            <p:nvSpPr>
              <p:cNvPr id="14" name="Rectangle 13">
                <a:extLst>
                  <a:ext uri="{FF2B5EF4-FFF2-40B4-BE49-F238E27FC236}">
                    <a16:creationId xmlns="" xmlns:a16="http://schemas.microsoft.com/office/drawing/2014/main" id="{937CE003-C833-4F8B-865B-534A585AB14D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gray">
              <a:xfrm>
                <a:off x="4391873" y="2863995"/>
                <a:ext cx="449263" cy="165100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25400" cap="flat" cmpd="sng" algn="ctr">
                    <a:solidFill>
                      <a:schemeClr val="accent1">
                        <a:shade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25400" tIns="0" rIns="25400" bIns="0" numCol="1" spcCol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Font typeface="Arial"/>
                  <a:buNone/>
                  <a:defRPr/>
                </a:pPr>
                <a:fld id="{AAD6E94A-01EC-417C-9904-6324441A3D4F}" type="datetime'''''''''''''''''''''0''.18'''''''''''">
                  <a:rPr lang="en-GB" altLang="en-US" sz="1200" b="1" kern="0" smtClean="0">
                    <a:solidFill>
                      <a:schemeClr val="bg1"/>
                    </a:solidFill>
                    <a:cs typeface="Calibri" panose="020F0502020204030204" pitchFamily="34" charset="0"/>
                    <a:sym typeface="Calibri" panose="020F0502020204030204" pitchFamily="34" charset="0"/>
                  </a:rPr>
                  <a:pPr algn="ctr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Font typeface="Arial"/>
                    <a:buNone/>
                    <a:defRPr/>
                  </a:pPr>
                  <a:t>0.18</a:t>
                </a:fld>
                <a:r>
                  <a:rPr lang="en-GB" altLang="en-US" sz="1200" b="1" kern="0" dirty="0">
                    <a:solidFill>
                      <a:schemeClr val="bg1"/>
                    </a:solidFill>
                    <a:cs typeface="Calibri" panose="020F0502020204030204" pitchFamily="34" charset="0"/>
                    <a:sym typeface="Calibri" panose="020F0502020204030204" pitchFamily="34" charset="0"/>
                  </a:rPr>
                  <a:t>m</a:t>
                </a:r>
                <a:endParaRPr lang="en-GB" sz="1200" b="1" kern="0" dirty="0">
                  <a:solidFill>
                    <a:schemeClr val="bg1"/>
                  </a:solidFill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15" name="Rectangle 14"/>
            <p:cNvSpPr/>
            <p:nvPr/>
          </p:nvSpPr>
          <p:spPr>
            <a:xfrm>
              <a:off x="522271" y="876307"/>
              <a:ext cx="505460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8542"/>
                </a:buClr>
                <a:buSzPts val="2800"/>
                <a:defRPr/>
              </a:pPr>
              <a:r>
                <a:rPr lang="en-GB" sz="2000" dirty="0">
                  <a:solidFill>
                    <a:schemeClr val="bg1"/>
                  </a:solidFill>
                  <a:sym typeface="Calibri"/>
                </a:rPr>
                <a:t>We operate </a:t>
              </a:r>
              <a:r>
                <a:rPr lang="en-GB" sz="2000" dirty="0" smtClean="0">
                  <a:solidFill>
                    <a:schemeClr val="bg1"/>
                  </a:solidFill>
                  <a:sym typeface="Calibri"/>
                </a:rPr>
                <a:t>1.64m </a:t>
              </a:r>
              <a:r>
                <a:rPr lang="en-GB" sz="2000" dirty="0">
                  <a:solidFill>
                    <a:schemeClr val="bg1"/>
                  </a:solidFill>
                  <a:sym typeface="Calibri"/>
                </a:rPr>
                <a:t>meters, 89% of which are </a:t>
              </a:r>
              <a:r>
                <a:rPr lang="en-GB" sz="2000" dirty="0" smtClean="0">
                  <a:solidFill>
                    <a:schemeClr val="bg1"/>
                  </a:solidFill>
                  <a:sym typeface="Calibri"/>
                </a:rPr>
                <a:t>domestic. These meters </a:t>
              </a:r>
              <a:r>
                <a:rPr lang="en-GB" sz="2000" dirty="0">
                  <a:solidFill>
                    <a:schemeClr val="bg1"/>
                  </a:solidFill>
                  <a:sym typeface="Calibri"/>
                </a:rPr>
                <a:t>are concentrated in the south </a:t>
              </a:r>
              <a:r>
                <a:rPr lang="en-GB" sz="2000" dirty="0" smtClean="0">
                  <a:solidFill>
                    <a:schemeClr val="bg1"/>
                  </a:solidFill>
                  <a:sym typeface="Calibri"/>
                </a:rPr>
                <a:t>of our region</a:t>
              </a:r>
              <a:endParaRPr lang="en-GB" sz="2000" dirty="0">
                <a:solidFill>
                  <a:schemeClr val="bg1"/>
                </a:solidFill>
                <a:sym typeface="Arial"/>
              </a:endParaRPr>
            </a:p>
          </p:txBody>
        </p:sp>
      </p:grpSp>
      <p:sp>
        <p:nvSpPr>
          <p:cNvPr id="16" name="Title 21"/>
          <p:cNvSpPr>
            <a:spLocks noGrp="1"/>
          </p:cNvSpPr>
          <p:nvPr>
            <p:ph type="title"/>
          </p:nvPr>
        </p:nvSpPr>
        <p:spPr>
          <a:xfrm>
            <a:off x="365125" y="322810"/>
            <a:ext cx="11260818" cy="439981"/>
          </a:xfrm>
        </p:spPr>
        <p:txBody>
          <a:bodyPr/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Current Metering Challenges in United Utilities</a:t>
            </a:r>
            <a:endParaRPr lang="en-GB" dirty="0">
              <a:solidFill>
                <a:schemeClr val="bg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6232514" y="1086401"/>
            <a:ext cx="5205975" cy="5033427"/>
            <a:chOff x="6232514" y="1086401"/>
            <a:chExt cx="5205975" cy="5033427"/>
          </a:xfrm>
        </p:grpSpPr>
        <p:sp>
          <p:nvSpPr>
            <p:cNvPr id="5" name="Rectangle 4"/>
            <p:cNvSpPr/>
            <p:nvPr/>
          </p:nvSpPr>
          <p:spPr>
            <a:xfrm>
              <a:off x="6232514" y="1086401"/>
              <a:ext cx="5054601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8542"/>
                </a:buClr>
                <a:buSzPts val="2800"/>
                <a:defRPr/>
              </a:pPr>
              <a:r>
                <a:rPr lang="en-GB" sz="2000" dirty="0">
                  <a:solidFill>
                    <a:schemeClr val="bg1"/>
                  </a:solidFill>
                </a:rPr>
                <a:t>We have one of the lowest </a:t>
              </a:r>
              <a:r>
                <a:rPr lang="en-GB" sz="2000" dirty="0" smtClean="0">
                  <a:solidFill>
                    <a:schemeClr val="bg1"/>
                  </a:solidFill>
                </a:rPr>
                <a:t>water company HH </a:t>
              </a:r>
              <a:r>
                <a:rPr lang="en-GB" sz="2000" dirty="0">
                  <a:solidFill>
                    <a:schemeClr val="bg1"/>
                  </a:solidFill>
                </a:rPr>
                <a:t>meter penetrations (</a:t>
              </a:r>
              <a:r>
                <a:rPr lang="en-GB" sz="2000" dirty="0" smtClean="0">
                  <a:solidFill>
                    <a:schemeClr val="bg1"/>
                  </a:solidFill>
                </a:rPr>
                <a:t>49%) </a:t>
              </a:r>
              <a:r>
                <a:rPr lang="en-GB" sz="2000" dirty="0">
                  <a:solidFill>
                    <a:schemeClr val="bg1"/>
                  </a:solidFill>
                </a:rPr>
                <a:t>and have </a:t>
              </a:r>
              <a:r>
                <a:rPr lang="en-GB" sz="2000" dirty="0" smtClean="0">
                  <a:solidFill>
                    <a:schemeClr val="bg1"/>
                  </a:solidFill>
                </a:rPr>
                <a:t>modest </a:t>
              </a:r>
              <a:r>
                <a:rPr lang="en-GB" sz="2000" dirty="0">
                  <a:solidFill>
                    <a:schemeClr val="bg1"/>
                  </a:solidFill>
                </a:rPr>
                <a:t>AMP7 growth (+6% meter penetration)</a:t>
              </a:r>
              <a:endParaRPr lang="en-GB" sz="2000" dirty="0">
                <a:solidFill>
                  <a:schemeClr val="bg1"/>
                </a:solidFill>
                <a:sym typeface="Arial"/>
              </a:endParaRPr>
            </a:p>
          </p:txBody>
        </p:sp>
        <p:sp>
          <p:nvSpPr>
            <p:cNvPr id="17" name="Hexagon 16"/>
            <p:cNvSpPr>
              <a:spLocks noChangeAspect="1"/>
            </p:cNvSpPr>
            <p:nvPr/>
          </p:nvSpPr>
          <p:spPr>
            <a:xfrm>
              <a:off x="7347573" y="2240615"/>
              <a:ext cx="2839680" cy="2448000"/>
            </a:xfrm>
            <a:prstGeom prst="hexagon">
              <a:avLst/>
            </a:prstGeom>
            <a:blipFill dpi="0"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762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383888" y="4919499"/>
              <a:ext cx="5054601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008542"/>
                </a:buClr>
                <a:buSzPts val="2800"/>
                <a:defRPr/>
              </a:pPr>
              <a:r>
                <a:rPr lang="en-GB" sz="2000" dirty="0" smtClean="0">
                  <a:solidFill>
                    <a:schemeClr val="bg1"/>
                  </a:solidFill>
                </a:rPr>
                <a:t>Our meters are either read visually </a:t>
              </a:r>
            </a:p>
            <a:p>
              <a:pPr algn="ctr">
                <a:lnSpc>
                  <a:spcPct val="90000"/>
                </a:lnSpc>
                <a:buClr>
                  <a:srgbClr val="008542"/>
                </a:buClr>
                <a:buSzPts val="2800"/>
                <a:defRPr/>
              </a:pPr>
              <a:r>
                <a:rPr lang="en-GB" sz="2000" dirty="0" smtClean="0">
                  <a:solidFill>
                    <a:schemeClr val="bg1"/>
                  </a:solidFill>
                  <a:sym typeface="Arial"/>
                </a:rPr>
                <a:t>or</a:t>
              </a:r>
              <a:endParaRPr lang="en-GB" sz="2000" dirty="0">
                <a:solidFill>
                  <a:schemeClr val="bg1"/>
                </a:solidFill>
                <a:sym typeface="Arial"/>
              </a:endParaRPr>
            </a:p>
            <a:p>
              <a:pPr algn="ctr">
                <a:lnSpc>
                  <a:spcPct val="90000"/>
                </a:lnSpc>
                <a:buClr>
                  <a:srgbClr val="008542"/>
                </a:buClr>
                <a:buSzPts val="2800"/>
                <a:defRPr/>
              </a:pPr>
              <a:r>
                <a:rPr lang="en-GB" sz="2000" dirty="0">
                  <a:solidFill>
                    <a:schemeClr val="bg1"/>
                  </a:solidFill>
                  <a:sym typeface="Arial"/>
                </a:rPr>
                <a:t>U</a:t>
              </a:r>
              <a:r>
                <a:rPr lang="en-GB" sz="2000" dirty="0" smtClean="0">
                  <a:solidFill>
                    <a:schemeClr val="bg1"/>
                  </a:solidFill>
                  <a:sym typeface="Arial"/>
                </a:rPr>
                <a:t>tilise AMR technology with the ability to collect reads when driving or walking by</a:t>
              </a:r>
              <a:endParaRPr lang="en-GB" sz="2000" dirty="0">
                <a:solidFill>
                  <a:schemeClr val="bg1"/>
                </a:solidFill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3176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023419" y="2497976"/>
            <a:ext cx="4145163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5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How?</a:t>
            </a:r>
            <a:endParaRPr lang="en-GB" sz="115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  <p:sp>
        <p:nvSpPr>
          <p:cNvPr id="6" name="Title 21"/>
          <p:cNvSpPr txBox="1">
            <a:spLocks/>
          </p:cNvSpPr>
          <p:nvPr/>
        </p:nvSpPr>
        <p:spPr>
          <a:xfrm>
            <a:off x="365124" y="110324"/>
            <a:ext cx="11533666" cy="89285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accent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GB" dirty="0" smtClean="0">
                <a:solidFill>
                  <a:schemeClr val="bg1"/>
                </a:solidFill>
              </a:rPr>
              <a:t>Smart meters will be installed in mass – The Smart meter data will support the reduction of water use and identify loss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Hexagon 9"/>
          <p:cNvSpPr/>
          <p:nvPr/>
        </p:nvSpPr>
        <p:spPr>
          <a:xfrm>
            <a:off x="8871750" y="1211278"/>
            <a:ext cx="2437616" cy="2042942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bg1"/>
                </a:solidFill>
              </a:rPr>
              <a:t>New meter installs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Customer Requested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Enhanced Metering</a:t>
            </a:r>
          </a:p>
        </p:txBody>
      </p:sp>
      <p:sp>
        <p:nvSpPr>
          <p:cNvPr id="11" name="Hexagon 10"/>
          <p:cNvSpPr>
            <a:spLocks noChangeAspect="1"/>
          </p:cNvSpPr>
          <p:nvPr/>
        </p:nvSpPr>
        <p:spPr>
          <a:xfrm>
            <a:off x="9033255" y="3328880"/>
            <a:ext cx="2126716" cy="1782379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dirty="0" smtClean="0">
                <a:solidFill>
                  <a:schemeClr val="bg1"/>
                </a:solidFill>
              </a:rPr>
              <a:t>Renewals</a:t>
            </a:r>
            <a:endParaRPr lang="en-GB" dirty="0" smtClean="0">
              <a:solidFill>
                <a:schemeClr val="bg1"/>
              </a:solidFill>
            </a:endParaRP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Fix on Fail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1400" dirty="0" smtClean="0">
                <a:solidFill>
                  <a:schemeClr val="bg1"/>
                </a:solidFill>
              </a:rPr>
              <a:t>Pro-active</a:t>
            </a:r>
          </a:p>
        </p:txBody>
      </p:sp>
      <p:sp>
        <p:nvSpPr>
          <p:cNvPr id="12" name="Hexagon 11"/>
          <p:cNvSpPr>
            <a:spLocks noChangeAspect="1"/>
          </p:cNvSpPr>
          <p:nvPr/>
        </p:nvSpPr>
        <p:spPr>
          <a:xfrm>
            <a:off x="9170617" y="5199106"/>
            <a:ext cx="1839881" cy="1541986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 smtClean="0">
                <a:solidFill>
                  <a:schemeClr val="bg1"/>
                </a:solidFill>
              </a:rPr>
              <a:t>New Connection</a:t>
            </a:r>
          </a:p>
          <a:p>
            <a:pPr marL="285750" indent="-285750" algn="ctr">
              <a:buFont typeface="Arial" panose="020B0604020202020204" pitchFamily="34" charset="0"/>
              <a:buChar char="•"/>
            </a:pPr>
            <a:r>
              <a:rPr lang="en-GB" sz="900" dirty="0" smtClean="0">
                <a:solidFill>
                  <a:schemeClr val="bg1"/>
                </a:solidFill>
              </a:rPr>
              <a:t>Efficient homes</a:t>
            </a:r>
            <a:endParaRPr lang="en-GB" sz="1050" dirty="0" smtClean="0">
              <a:solidFill>
                <a:schemeClr val="bg1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365124" y="1362200"/>
            <a:ext cx="7722089" cy="5136776"/>
            <a:chOff x="365124" y="1362200"/>
            <a:chExt cx="7722089" cy="5136776"/>
          </a:xfrm>
        </p:grpSpPr>
        <p:grpSp>
          <p:nvGrpSpPr>
            <p:cNvPr id="98" name="Group 97"/>
            <p:cNvGrpSpPr/>
            <p:nvPr/>
          </p:nvGrpSpPr>
          <p:grpSpPr>
            <a:xfrm>
              <a:off x="365124" y="1362200"/>
              <a:ext cx="3969619" cy="5136776"/>
              <a:chOff x="1415429" y="1219257"/>
              <a:chExt cx="3969619" cy="5136776"/>
            </a:xfrm>
          </p:grpSpPr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1415429" y="1219257"/>
                <a:ext cx="3969619" cy="5136776"/>
              </a:xfrm>
              <a:prstGeom prst="rect">
                <a:avLst/>
              </a:prstGeom>
            </p:spPr>
          </p:pic>
          <p:grpSp>
            <p:nvGrpSpPr>
              <p:cNvPr id="13" name="Group 12"/>
              <p:cNvGrpSpPr>
                <a:grpSpLocks noChangeAspect="1"/>
              </p:cNvGrpSpPr>
              <p:nvPr/>
            </p:nvGrpSpPr>
            <p:grpSpPr>
              <a:xfrm>
                <a:off x="3888411" y="4606675"/>
                <a:ext cx="515038" cy="515038"/>
                <a:chOff x="2620383" y="1662951"/>
                <a:chExt cx="1510556" cy="1510556"/>
              </a:xfrm>
            </p:grpSpPr>
            <p:sp>
              <p:nvSpPr>
                <p:cNvPr id="14" name="Oval 13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5" name="Oval 14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6" name="Oval 15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7" name="Oval 16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18" name="Oval 17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19" name="Group 18"/>
              <p:cNvGrpSpPr>
                <a:grpSpLocks noChangeAspect="1"/>
              </p:cNvGrpSpPr>
              <p:nvPr/>
            </p:nvGrpSpPr>
            <p:grpSpPr>
              <a:xfrm>
                <a:off x="2567820" y="2033585"/>
                <a:ext cx="487128" cy="487128"/>
                <a:chOff x="2620383" y="1662951"/>
                <a:chExt cx="1510556" cy="1510556"/>
              </a:xfrm>
            </p:grpSpPr>
            <p:sp>
              <p:nvSpPr>
                <p:cNvPr id="20" name="Oval 19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1" name="Oval 20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2" name="Oval 21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3" name="Oval 22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4" name="Oval 23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25" name="Group 24"/>
              <p:cNvGrpSpPr>
                <a:grpSpLocks noChangeAspect="1"/>
              </p:cNvGrpSpPr>
              <p:nvPr/>
            </p:nvGrpSpPr>
            <p:grpSpPr>
              <a:xfrm>
                <a:off x="2603384" y="3183004"/>
                <a:ext cx="572199" cy="572199"/>
                <a:chOff x="2620383" y="1662951"/>
                <a:chExt cx="1510556" cy="1510556"/>
              </a:xfrm>
            </p:grpSpPr>
            <p:sp>
              <p:nvSpPr>
                <p:cNvPr id="26" name="Oval 25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7" name="Oval 26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8" name="Oval 27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29" name="Oval 28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0" name="Oval 29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31" name="Group 30"/>
              <p:cNvGrpSpPr>
                <a:grpSpLocks noChangeAspect="1"/>
              </p:cNvGrpSpPr>
              <p:nvPr/>
            </p:nvGrpSpPr>
            <p:grpSpPr>
              <a:xfrm>
                <a:off x="3233546" y="4993089"/>
                <a:ext cx="674374" cy="674374"/>
                <a:chOff x="2620383" y="1662951"/>
                <a:chExt cx="1510556" cy="1510556"/>
              </a:xfrm>
            </p:grpSpPr>
            <p:sp>
              <p:nvSpPr>
                <p:cNvPr id="32" name="Oval 31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3" name="Oval 32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4" name="Oval 33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5" name="Oval 34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6" name="Oval 35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37" name="Group 36"/>
              <p:cNvGrpSpPr>
                <a:grpSpLocks noChangeAspect="1"/>
              </p:cNvGrpSpPr>
              <p:nvPr/>
            </p:nvGrpSpPr>
            <p:grpSpPr>
              <a:xfrm>
                <a:off x="2969648" y="4741344"/>
                <a:ext cx="539606" cy="539606"/>
                <a:chOff x="2620383" y="1662951"/>
                <a:chExt cx="1510556" cy="1510556"/>
              </a:xfrm>
            </p:grpSpPr>
            <p:sp>
              <p:nvSpPr>
                <p:cNvPr id="38" name="Oval 37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39" name="Oval 38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0" name="Oval 39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1" name="Oval 40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2" name="Oval 41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43" name="Group 42"/>
              <p:cNvGrpSpPr>
                <a:grpSpLocks noChangeAspect="1"/>
              </p:cNvGrpSpPr>
              <p:nvPr/>
            </p:nvGrpSpPr>
            <p:grpSpPr>
              <a:xfrm>
                <a:off x="3605248" y="4834561"/>
                <a:ext cx="757520" cy="757520"/>
                <a:chOff x="2620383" y="1662951"/>
                <a:chExt cx="1510556" cy="1510556"/>
              </a:xfrm>
            </p:grpSpPr>
            <p:sp>
              <p:nvSpPr>
                <p:cNvPr id="44" name="Oval 43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5" name="Oval 44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6" name="Oval 45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7" name="Oval 46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48" name="Oval 47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49" name="Group 48"/>
              <p:cNvGrpSpPr>
                <a:grpSpLocks noChangeAspect="1"/>
              </p:cNvGrpSpPr>
              <p:nvPr/>
            </p:nvGrpSpPr>
            <p:grpSpPr>
              <a:xfrm>
                <a:off x="2910562" y="2196398"/>
                <a:ext cx="493191" cy="493191"/>
                <a:chOff x="2620383" y="1662951"/>
                <a:chExt cx="1510556" cy="1510556"/>
              </a:xfrm>
            </p:grpSpPr>
            <p:sp>
              <p:nvSpPr>
                <p:cNvPr id="50" name="Oval 49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1" name="Oval 50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2" name="Oval 51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3" name="Oval 52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4" name="Oval 53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55" name="Group 54"/>
              <p:cNvGrpSpPr>
                <a:grpSpLocks noChangeAspect="1"/>
              </p:cNvGrpSpPr>
              <p:nvPr/>
            </p:nvGrpSpPr>
            <p:grpSpPr>
              <a:xfrm>
                <a:off x="2835165" y="5142233"/>
                <a:ext cx="499438" cy="499438"/>
                <a:chOff x="2620383" y="1662951"/>
                <a:chExt cx="1510556" cy="1510556"/>
              </a:xfrm>
            </p:grpSpPr>
            <p:sp>
              <p:nvSpPr>
                <p:cNvPr id="56" name="Oval 55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7" name="Oval 56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8" name="Oval 57"/>
                <p:cNvSpPr>
                  <a:spLocks noChangeAspect="1"/>
                </p:cNvSpPr>
                <p:nvPr/>
              </p:nvSpPr>
              <p:spPr>
                <a:xfrm>
                  <a:off x="3285119" y="2327687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59" name="Oval 58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0" name="Oval 59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61" name="Group 60"/>
              <p:cNvGrpSpPr>
                <a:grpSpLocks noChangeAspect="1"/>
              </p:cNvGrpSpPr>
              <p:nvPr/>
            </p:nvGrpSpPr>
            <p:grpSpPr>
              <a:xfrm>
                <a:off x="2444576" y="2328351"/>
                <a:ext cx="321891" cy="321891"/>
                <a:chOff x="2620383" y="1662951"/>
                <a:chExt cx="1510556" cy="1510556"/>
              </a:xfrm>
            </p:grpSpPr>
            <p:sp>
              <p:nvSpPr>
                <p:cNvPr id="62" name="Oval 61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3" name="Oval 62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4" name="Oval 63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5" name="Oval 64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6" name="Oval 65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67" name="Group 66"/>
              <p:cNvGrpSpPr>
                <a:grpSpLocks noChangeAspect="1"/>
              </p:cNvGrpSpPr>
              <p:nvPr/>
            </p:nvGrpSpPr>
            <p:grpSpPr>
              <a:xfrm>
                <a:off x="3236777" y="5317753"/>
                <a:ext cx="464673" cy="464673"/>
                <a:chOff x="2620383" y="1662951"/>
                <a:chExt cx="1510556" cy="1510556"/>
              </a:xfrm>
            </p:grpSpPr>
            <p:sp>
              <p:nvSpPr>
                <p:cNvPr id="68" name="Oval 67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69" name="Oval 68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0" name="Oval 69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1" name="Oval 70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2" name="Oval 71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74" name="Group 73"/>
              <p:cNvGrpSpPr>
                <a:grpSpLocks noChangeAspect="1"/>
              </p:cNvGrpSpPr>
              <p:nvPr/>
            </p:nvGrpSpPr>
            <p:grpSpPr>
              <a:xfrm>
                <a:off x="3678785" y="5437906"/>
                <a:ext cx="464673" cy="464673"/>
                <a:chOff x="2620383" y="1662951"/>
                <a:chExt cx="1510556" cy="1510556"/>
              </a:xfrm>
            </p:grpSpPr>
            <p:sp>
              <p:nvSpPr>
                <p:cNvPr id="75" name="Oval 74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6" name="Oval 75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7" name="Oval 76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8" name="Oval 77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79" name="Oval 78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80" name="Group 79"/>
              <p:cNvGrpSpPr>
                <a:grpSpLocks noChangeAspect="1"/>
              </p:cNvGrpSpPr>
              <p:nvPr/>
            </p:nvGrpSpPr>
            <p:grpSpPr>
              <a:xfrm>
                <a:off x="3356773" y="4587328"/>
                <a:ext cx="464673" cy="464673"/>
                <a:chOff x="2620383" y="1662951"/>
                <a:chExt cx="1510556" cy="1510556"/>
              </a:xfrm>
            </p:grpSpPr>
            <p:sp>
              <p:nvSpPr>
                <p:cNvPr id="81" name="Oval 80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2" name="Oval 81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3" name="Oval 82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4" name="Oval 83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5" name="Oval 84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86" name="Group 85"/>
              <p:cNvGrpSpPr>
                <a:grpSpLocks noChangeAspect="1"/>
              </p:cNvGrpSpPr>
              <p:nvPr/>
            </p:nvGrpSpPr>
            <p:grpSpPr>
              <a:xfrm>
                <a:off x="3041383" y="4103778"/>
                <a:ext cx="464673" cy="464673"/>
                <a:chOff x="2620383" y="1662951"/>
                <a:chExt cx="1510556" cy="1510556"/>
              </a:xfrm>
            </p:grpSpPr>
            <p:sp>
              <p:nvSpPr>
                <p:cNvPr id="87" name="Oval 86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8" name="Oval 87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89" name="Oval 88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0" name="Oval 89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1" name="Oval 90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  <p:grpSp>
            <p:nvGrpSpPr>
              <p:cNvPr id="92" name="Group 91"/>
              <p:cNvGrpSpPr>
                <a:grpSpLocks noChangeAspect="1"/>
              </p:cNvGrpSpPr>
              <p:nvPr/>
            </p:nvGrpSpPr>
            <p:grpSpPr>
              <a:xfrm>
                <a:off x="3334603" y="4200164"/>
                <a:ext cx="464673" cy="464673"/>
                <a:chOff x="2620383" y="1662951"/>
                <a:chExt cx="1510556" cy="1510556"/>
              </a:xfrm>
            </p:grpSpPr>
            <p:sp>
              <p:nvSpPr>
                <p:cNvPr id="93" name="Oval 92"/>
                <p:cNvSpPr>
                  <a:spLocks noChangeAspect="1"/>
                </p:cNvSpPr>
                <p:nvPr/>
              </p:nvSpPr>
              <p:spPr>
                <a:xfrm>
                  <a:off x="3101341" y="2143909"/>
                  <a:ext cx="548640" cy="548640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4" name="Oval 93"/>
                <p:cNvSpPr>
                  <a:spLocks noChangeAspect="1"/>
                </p:cNvSpPr>
                <p:nvPr/>
              </p:nvSpPr>
              <p:spPr>
                <a:xfrm>
                  <a:off x="2993765" y="2036333"/>
                  <a:ext cx="763793" cy="76379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5" name="Oval 94"/>
                <p:cNvSpPr>
                  <a:spLocks noChangeAspect="1"/>
                </p:cNvSpPr>
                <p:nvPr/>
              </p:nvSpPr>
              <p:spPr>
                <a:xfrm>
                  <a:off x="3285118" y="2327686"/>
                  <a:ext cx="181087" cy="181087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6" name="Oval 95"/>
                <p:cNvSpPr>
                  <a:spLocks noChangeAspect="1"/>
                </p:cNvSpPr>
                <p:nvPr/>
              </p:nvSpPr>
              <p:spPr>
                <a:xfrm>
                  <a:off x="2865570" y="1908138"/>
                  <a:ext cx="1020183" cy="1020183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  <p:sp>
              <p:nvSpPr>
                <p:cNvPr id="97" name="Oval 96"/>
                <p:cNvSpPr>
                  <a:spLocks noChangeAspect="1"/>
                </p:cNvSpPr>
                <p:nvPr/>
              </p:nvSpPr>
              <p:spPr>
                <a:xfrm>
                  <a:off x="2620383" y="1662951"/>
                  <a:ext cx="1510556" cy="1510556"/>
                </a:xfrm>
                <a:prstGeom prst="ellipse">
                  <a:avLst/>
                </a:pr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/>
                </a:p>
              </p:txBody>
            </p:sp>
          </p:grpSp>
        </p:grpSp>
        <p:sp>
          <p:nvSpPr>
            <p:cNvPr id="99" name="Hexagon 98"/>
            <p:cNvSpPr>
              <a:spLocks noChangeAspect="1"/>
            </p:cNvSpPr>
            <p:nvPr/>
          </p:nvSpPr>
          <p:spPr>
            <a:xfrm>
              <a:off x="4098350" y="1974831"/>
              <a:ext cx="3988863" cy="3343027"/>
            </a:xfrm>
            <a:prstGeom prst="hexagon">
              <a:avLst>
                <a:gd name="adj" fmla="val 30000"/>
                <a:gd name="vf" fmla="val 115470"/>
              </a:avLst>
            </a:prstGeom>
            <a:solidFill>
              <a:srgbClr val="67CF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3200" dirty="0" smtClean="0">
                  <a:solidFill>
                    <a:schemeClr val="bg1"/>
                  </a:solidFill>
                </a:rPr>
                <a:t>Roll out Advanced metering Infrastructure</a:t>
              </a:r>
              <a:endParaRPr lang="en-GB" sz="4800" dirty="0" smtClean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0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10" grpId="0" animBg="1"/>
      <p:bldP spid="11" grpId="0" animBg="1"/>
      <p:bldP spid="1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graphicFrame>
        <p:nvGraphicFramePr>
          <p:cNvPr id="100" name="Chart 9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1109102"/>
              </p:ext>
            </p:extLst>
          </p:nvPr>
        </p:nvGraphicFramePr>
        <p:xfrm>
          <a:off x="989822" y="221289"/>
          <a:ext cx="10212356" cy="64154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9361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54088" y="728261"/>
            <a:ext cx="9683825" cy="54014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5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What does this mean to you?</a:t>
            </a:r>
            <a:endParaRPr lang="en-GB" sz="115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8547128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47101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5" name="Hexagon 4"/>
          <p:cNvSpPr/>
          <p:nvPr/>
        </p:nvSpPr>
        <p:spPr>
          <a:xfrm>
            <a:off x="5160856" y="2153661"/>
            <a:ext cx="3420000" cy="2916000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 smtClean="0">
                <a:solidFill>
                  <a:schemeClr val="bg1"/>
                </a:solidFill>
              </a:rPr>
              <a:t>Incentives to build more efficient homes</a:t>
            </a:r>
          </a:p>
        </p:txBody>
      </p:sp>
      <p:sp>
        <p:nvSpPr>
          <p:cNvPr id="6" name="Hexagon 5"/>
          <p:cNvSpPr>
            <a:spLocks noChangeAspect="1"/>
          </p:cNvSpPr>
          <p:nvPr/>
        </p:nvSpPr>
        <p:spPr>
          <a:xfrm>
            <a:off x="2743008" y="4672237"/>
            <a:ext cx="2438591" cy="2043759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bg1"/>
                </a:solidFill>
              </a:rPr>
              <a:t>Ability to procure directly</a:t>
            </a:r>
          </a:p>
        </p:txBody>
      </p:sp>
      <p:sp>
        <p:nvSpPr>
          <p:cNvPr id="7" name="Hexagon 6"/>
          <p:cNvSpPr>
            <a:spLocks/>
          </p:cNvSpPr>
          <p:nvPr/>
        </p:nvSpPr>
        <p:spPr>
          <a:xfrm>
            <a:off x="645145" y="870214"/>
            <a:ext cx="3988863" cy="3343027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000" dirty="0" smtClean="0">
                <a:solidFill>
                  <a:schemeClr val="bg1"/>
                </a:solidFill>
              </a:rPr>
              <a:t>Different Metering Technology</a:t>
            </a:r>
          </a:p>
        </p:txBody>
      </p:sp>
      <p:sp>
        <p:nvSpPr>
          <p:cNvPr id="8" name="Hexagon 7"/>
          <p:cNvSpPr>
            <a:spLocks noChangeAspect="1"/>
          </p:cNvSpPr>
          <p:nvPr/>
        </p:nvSpPr>
        <p:spPr>
          <a:xfrm>
            <a:off x="7821428" y="3657278"/>
            <a:ext cx="3420000" cy="2898306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bg1"/>
                </a:solidFill>
              </a:rPr>
              <a:t>Review of Meter location policy for Smart Technology Rollout</a:t>
            </a:r>
            <a:endParaRPr lang="en-GB" sz="4000" dirty="0" smtClean="0">
              <a:solidFill>
                <a:schemeClr val="bg1"/>
              </a:solidFill>
            </a:endParaRPr>
          </a:p>
        </p:txBody>
      </p:sp>
      <p:sp>
        <p:nvSpPr>
          <p:cNvPr id="10" name="Hexagon 9"/>
          <p:cNvSpPr/>
          <p:nvPr/>
        </p:nvSpPr>
        <p:spPr>
          <a:xfrm>
            <a:off x="122572" y="4678328"/>
            <a:ext cx="2437616" cy="2042942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bg1"/>
                </a:solidFill>
              </a:rPr>
              <a:t>Ease of Installation</a:t>
            </a:r>
          </a:p>
        </p:txBody>
      </p:sp>
      <p:cxnSp>
        <p:nvCxnSpPr>
          <p:cNvPr id="11" name="Straight Arrow Connector 10"/>
          <p:cNvCxnSpPr>
            <a:stCxn id="7" idx="2"/>
          </p:cNvCxnSpPr>
          <p:nvPr/>
        </p:nvCxnSpPr>
        <p:spPr>
          <a:xfrm flipH="1">
            <a:off x="1341380" y="4213240"/>
            <a:ext cx="306673" cy="465088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>
            <a:off x="3629025" y="4213240"/>
            <a:ext cx="238125" cy="458997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Hexagon 15"/>
          <p:cNvSpPr>
            <a:spLocks noChangeAspect="1"/>
          </p:cNvSpPr>
          <p:nvPr/>
        </p:nvSpPr>
        <p:spPr>
          <a:xfrm>
            <a:off x="7811903" y="656903"/>
            <a:ext cx="3420000" cy="2898306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 smtClean="0">
                <a:solidFill>
                  <a:schemeClr val="bg1"/>
                </a:solidFill>
              </a:rPr>
              <a:t>Review of Meter location policy for Smart Technology Rollout</a:t>
            </a:r>
            <a:endParaRPr lang="en-GB" sz="4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833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ape&#10;&#10;Description automatically generated">
            <a:extLst>
              <a:ext uri="{FF2B5EF4-FFF2-40B4-BE49-F238E27FC236}">
                <a16:creationId xmlns="" xmlns:a16="http://schemas.microsoft.com/office/drawing/2014/main" id="{1AB12565-9B73-4C65-A1A5-EACC67C6B60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8000"/>
            <a:ext cx="12191999" cy="6876000"/>
          </a:xfrm>
          <a:prstGeom prst="rect">
            <a:avLst/>
          </a:prstGeom>
        </p:spPr>
      </p:pic>
      <p:pic>
        <p:nvPicPr>
          <p:cNvPr id="4" name="Graphic 7">
            <a:extLst>
              <a:ext uri="{FF2B5EF4-FFF2-40B4-BE49-F238E27FC236}">
                <a16:creationId xmlns="" xmlns:a16="http://schemas.microsoft.com/office/drawing/2014/main" id="{532A310F-0190-4737-9386-978D76033EA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90181" y="1449000"/>
            <a:ext cx="10211638" cy="3960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54086" y="300002"/>
            <a:ext cx="968382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4800" b="1" dirty="0" smtClean="0">
                <a:solidFill>
                  <a:schemeClr val="bg1"/>
                </a:solidFill>
                <a:latin typeface="Leelawadee UI" panose="020B0502040204020203" pitchFamily="34" charset="-34"/>
                <a:cs typeface="Leelawadee UI" panose="020B0502040204020203" pitchFamily="34" charset="-34"/>
              </a:rPr>
              <a:t>Meter Location policy review?</a:t>
            </a:r>
            <a:endParaRPr lang="en-GB" sz="4800" b="1" dirty="0">
              <a:solidFill>
                <a:schemeClr val="bg1"/>
              </a:solidFill>
              <a:latin typeface="Leelawadee UI" panose="020B0502040204020203" pitchFamily="34" charset="-34"/>
              <a:cs typeface="Leelawadee UI" panose="020B0502040204020203" pitchFamily="34" charset="-34"/>
            </a:endParaRPr>
          </a:p>
        </p:txBody>
      </p:sp>
      <p:sp>
        <p:nvSpPr>
          <p:cNvPr id="9" name="Hexagon 8"/>
          <p:cNvSpPr/>
          <p:nvPr/>
        </p:nvSpPr>
        <p:spPr>
          <a:xfrm>
            <a:off x="26178" y="2439855"/>
            <a:ext cx="3079966" cy="2554408"/>
          </a:xfrm>
          <a:prstGeom prst="hexagon">
            <a:avLst>
              <a:gd name="adj" fmla="val 30000"/>
              <a:gd name="vf" fmla="val 115470"/>
            </a:avLst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 smtClean="0">
              <a:solidFill>
                <a:schemeClr val="bg1"/>
              </a:solidFill>
            </a:endParaRPr>
          </a:p>
        </p:txBody>
      </p:sp>
      <p:sp>
        <p:nvSpPr>
          <p:cNvPr id="11" name="Hexagon 10"/>
          <p:cNvSpPr/>
          <p:nvPr/>
        </p:nvSpPr>
        <p:spPr>
          <a:xfrm>
            <a:off x="2432321" y="3798766"/>
            <a:ext cx="3079966" cy="2554408"/>
          </a:xfrm>
          <a:prstGeom prst="hexagon">
            <a:avLst>
              <a:gd name="adj" fmla="val 30000"/>
              <a:gd name="vf" fmla="val 115470"/>
            </a:avLst>
          </a:prstGeom>
          <a:blipFill dpi="0"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 smtClean="0">
              <a:solidFill>
                <a:schemeClr val="bg1"/>
              </a:solidFill>
            </a:endParaRPr>
          </a:p>
        </p:txBody>
      </p:sp>
      <p:sp>
        <p:nvSpPr>
          <p:cNvPr id="12" name="Hexagon 11"/>
          <p:cNvSpPr/>
          <p:nvPr/>
        </p:nvSpPr>
        <p:spPr>
          <a:xfrm>
            <a:off x="2470502" y="1110662"/>
            <a:ext cx="3079966" cy="2554408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/>
              <a:t>Above ground meter external to the </a:t>
            </a:r>
            <a:r>
              <a:rPr lang="en-GB" sz="1600" dirty="0" smtClean="0"/>
              <a:t>dwelling?</a:t>
            </a:r>
          </a:p>
          <a:p>
            <a:pPr algn="ctr"/>
            <a:endParaRPr lang="en-GB" sz="1600" dirty="0"/>
          </a:p>
          <a:p>
            <a:pPr algn="ctr"/>
            <a:r>
              <a:rPr lang="en-GB" sz="1600" dirty="0" smtClean="0"/>
              <a:t>Above ground level - Communal areas in apartments</a:t>
            </a:r>
            <a:endParaRPr lang="en-GB" sz="1600" dirty="0"/>
          </a:p>
        </p:txBody>
      </p:sp>
      <p:sp>
        <p:nvSpPr>
          <p:cNvPr id="13" name="Hexagon 12"/>
          <p:cNvSpPr/>
          <p:nvPr/>
        </p:nvSpPr>
        <p:spPr>
          <a:xfrm>
            <a:off x="5824840" y="1552575"/>
            <a:ext cx="5852810" cy="1548000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 smtClean="0"/>
              <a:t>Benefits to consider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Leakage – continuous supply pipe from ma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Reduced Property damage during build stage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/>
              <a:t>HBF and Water UK best practice guidelin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Replacement – reduced customer impact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Smart Technology connectivity</a:t>
            </a:r>
            <a:endParaRPr lang="en-GB" sz="1400" dirty="0"/>
          </a:p>
        </p:txBody>
      </p:sp>
      <p:sp>
        <p:nvSpPr>
          <p:cNvPr id="14" name="Hexagon 13"/>
          <p:cNvSpPr/>
          <p:nvPr/>
        </p:nvSpPr>
        <p:spPr>
          <a:xfrm>
            <a:off x="5824840" y="3257389"/>
            <a:ext cx="5852810" cy="1548000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b="1" dirty="0" smtClean="0"/>
              <a:t>Challenges</a:t>
            </a:r>
            <a:endParaRPr lang="en-GB" sz="1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Product choice - sole </a:t>
            </a:r>
            <a:r>
              <a:rPr lang="en-GB" sz="1400" dirty="0"/>
              <a:t>active supp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Importance of correct installation - Training</a:t>
            </a:r>
            <a:endParaRPr lang="en-GB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Supply pipe through wall structure - disruptive to al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dirty="0" smtClean="0"/>
              <a:t>Different wall structures/rendering</a:t>
            </a:r>
            <a:endParaRPr lang="en-GB" sz="1400" dirty="0"/>
          </a:p>
          <a:p>
            <a:endParaRPr lang="en-GB" sz="1400" dirty="0"/>
          </a:p>
        </p:txBody>
      </p:sp>
      <p:sp>
        <p:nvSpPr>
          <p:cNvPr id="15" name="Hexagon 14"/>
          <p:cNvSpPr/>
          <p:nvPr/>
        </p:nvSpPr>
        <p:spPr>
          <a:xfrm>
            <a:off x="5824840" y="4962203"/>
            <a:ext cx="5852810" cy="1548000"/>
          </a:xfrm>
          <a:prstGeom prst="hexagon">
            <a:avLst>
              <a:gd name="adj" fmla="val 30000"/>
              <a:gd name="vf" fmla="val 115470"/>
            </a:avLst>
          </a:prstGeom>
          <a:solidFill>
            <a:srgbClr val="67CF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>
                <a:solidFill>
                  <a:schemeClr val="bg1"/>
                </a:solidFill>
              </a:rPr>
              <a:t>Formal Industry Consultation </a:t>
            </a:r>
            <a:endParaRPr lang="en-GB" sz="2000">
              <a:solidFill>
                <a:schemeClr val="bg1"/>
              </a:solidFill>
            </a:endParaRPr>
          </a:p>
          <a:p>
            <a:pPr algn="ctr"/>
            <a:r>
              <a:rPr lang="en-GB" sz="2000">
                <a:solidFill>
                  <a:schemeClr val="bg1"/>
                </a:solidFill>
              </a:rPr>
              <a:t>(Please Respond!)</a:t>
            </a:r>
            <a:endParaRPr lang="en-GB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403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4W_OuEfw1ALc2.m03yM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bB.v41NuK2eWL5C4MB5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eLoTgulHHPwvTFncLuS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E11rOAU2MEc4uWx7RPnw"/>
</p:tagLst>
</file>

<file path=ppt/theme/theme1.xml><?xml version="1.0" encoding="utf-8"?>
<a:theme xmlns:a="http://schemas.openxmlformats.org/drawingml/2006/main" name="Project Beehive - slide templates">
  <a:themeElements>
    <a:clrScheme name="Custom 8">
      <a:dk1>
        <a:srgbClr val="000000"/>
      </a:dk1>
      <a:lt1>
        <a:srgbClr val="FFFFFF"/>
      </a:lt1>
      <a:dk2>
        <a:srgbClr val="003E52"/>
      </a:dk2>
      <a:lt2>
        <a:srgbClr val="DBD9D6"/>
      </a:lt2>
      <a:accent1>
        <a:srgbClr val="00A1DF"/>
      </a:accent1>
      <a:accent2>
        <a:srgbClr val="67CFE3"/>
      </a:accent2>
      <a:accent3>
        <a:srgbClr val="C3E088"/>
      </a:accent3>
      <a:accent4>
        <a:srgbClr val="008542"/>
      </a:accent4>
      <a:accent5>
        <a:srgbClr val="024E43"/>
      </a:accent5>
      <a:accent6>
        <a:srgbClr val="77226C"/>
      </a:accent6>
      <a:hlink>
        <a:srgbClr val="00A1DF"/>
      </a:hlink>
      <a:folHlink>
        <a:srgbClr val="00A1D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roject Beehive - slide templates">
  <a:themeElements>
    <a:clrScheme name="Custom 8">
      <a:dk1>
        <a:srgbClr val="000000"/>
      </a:dk1>
      <a:lt1>
        <a:srgbClr val="FFFFFF"/>
      </a:lt1>
      <a:dk2>
        <a:srgbClr val="003E52"/>
      </a:dk2>
      <a:lt2>
        <a:srgbClr val="DBD9D6"/>
      </a:lt2>
      <a:accent1>
        <a:srgbClr val="00A1DF"/>
      </a:accent1>
      <a:accent2>
        <a:srgbClr val="67CFE3"/>
      </a:accent2>
      <a:accent3>
        <a:srgbClr val="C3E088"/>
      </a:accent3>
      <a:accent4>
        <a:srgbClr val="008542"/>
      </a:accent4>
      <a:accent5>
        <a:srgbClr val="024E43"/>
      </a:accent5>
      <a:accent6>
        <a:srgbClr val="77226C"/>
      </a:accent6>
      <a:hlink>
        <a:srgbClr val="00A1DF"/>
      </a:hlink>
      <a:folHlink>
        <a:srgbClr val="00A1D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FD6105491DA84BB012FBD5717DB6A4" ma:contentTypeVersion="14" ma:contentTypeDescription="Create a new document." ma:contentTypeScope="" ma:versionID="64f2edf72f5ed7ed72859c2df07f5aac">
  <xsd:schema xmlns:xsd="http://www.w3.org/2001/XMLSchema" xmlns:xs="http://www.w3.org/2001/XMLSchema" xmlns:p="http://schemas.microsoft.com/office/2006/metadata/properties" xmlns:ns2="2f8f9404-029c-4575-99dd-57d25e5e0852" xmlns:ns3="537449ae-8563-4e82-a3c0-46f1d28973a1" targetNamespace="http://schemas.microsoft.com/office/2006/metadata/properties" ma:root="true" ma:fieldsID="3eb176b11507012f5119482781968657" ns2:_="" ns3:_="">
    <xsd:import namespace="2f8f9404-029c-4575-99dd-57d25e5e0852"/>
    <xsd:import namespace="537449ae-8563-4e82-a3c0-46f1d28973a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8f9404-029c-4575-99dd-57d25e5e08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d0a10b4-0ebb-4d07-a5b7-b5632280277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7449ae-8563-4e82-a3c0-46f1d28973a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8" nillable="true" ma:displayName="Taxonomy Catch All Column" ma:hidden="true" ma:list="{c111a758-533c-4f2c-b5c1-7958a17b0aa0}" ma:internalName="TaxCatchAll" ma:showField="CatchAllData" ma:web="537449ae-8563-4e82-a3c0-46f1d28973a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f8f9404-029c-4575-99dd-57d25e5e0852">
      <Terms xmlns="http://schemas.microsoft.com/office/infopath/2007/PartnerControls"/>
    </lcf76f155ced4ddcb4097134ff3c332f>
    <TaxCatchAll xmlns="537449ae-8563-4e82-a3c0-46f1d28973a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8F3BFD7-7A75-4E86-BAD7-CC26B07EBEEC}">
  <ds:schemaRefs>
    <ds:schemaRef ds:uri="2f8f9404-029c-4575-99dd-57d25e5e0852"/>
    <ds:schemaRef ds:uri="537449ae-8563-4e82-a3c0-46f1d28973a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52443F21-CAEB-4D7B-99F1-8680DD7A98E3}">
  <ds:schemaRefs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537449ae-8563-4e82-a3c0-46f1d28973a1"/>
    <ds:schemaRef ds:uri="http://schemas.microsoft.com/office/2006/metadata/properties"/>
    <ds:schemaRef ds:uri="http://schemas.microsoft.com/office/infopath/2007/PartnerControls"/>
    <ds:schemaRef ds:uri="http://purl.org/dc/terms/"/>
    <ds:schemaRef ds:uri="2f8f9404-029c-4575-99dd-57d25e5e0852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EFF03DD-F7CF-412D-B744-5A8BAAA942B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U Theme</Template>
  <TotalTime>7680</TotalTime>
  <Words>446</Words>
  <Application>Microsoft Office PowerPoint</Application>
  <PresentationFormat>Widescreen</PresentationFormat>
  <Paragraphs>81</Paragraphs>
  <Slides>9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Leelawadee UI</vt:lpstr>
      <vt:lpstr>Project Beehive - slide templates</vt:lpstr>
      <vt:lpstr>1_Project Beehive - slide templates</vt:lpstr>
      <vt:lpstr>PowerPoint Presentation</vt:lpstr>
      <vt:lpstr>There is more demand for water and less predictable supply</vt:lpstr>
      <vt:lpstr>UU is committed to water sustainability in the North West </vt:lpstr>
      <vt:lpstr>Current Metering Challenges in United Utilitie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ma Tharme</dc:creator>
  <cp:lastModifiedBy>Mason, Megan</cp:lastModifiedBy>
  <cp:revision>103</cp:revision>
  <dcterms:created xsi:type="dcterms:W3CDTF">2022-04-22T09:05:42Z</dcterms:created>
  <dcterms:modified xsi:type="dcterms:W3CDTF">2023-10-26T07:2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6FD6105491DA84BB012FBD5717DB6A4</vt:lpwstr>
  </property>
  <property fmtid="{D5CDD505-2E9C-101B-9397-08002B2CF9AE}" pid="3" name="MediaServiceImageTags">
    <vt:lpwstr/>
  </property>
</Properties>
</file>